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7" r:id="rId2"/>
    <p:sldId id="300" r:id="rId3"/>
    <p:sldId id="299" r:id="rId4"/>
    <p:sldId id="279" r:id="rId5"/>
    <p:sldId id="276" r:id="rId6"/>
    <p:sldId id="287" r:id="rId7"/>
    <p:sldId id="274" r:id="rId8"/>
    <p:sldId id="264" r:id="rId9"/>
    <p:sldId id="286" r:id="rId10"/>
    <p:sldId id="265" r:id="rId11"/>
    <p:sldId id="268" r:id="rId12"/>
    <p:sldId id="266" r:id="rId13"/>
    <p:sldId id="285" r:id="rId14"/>
    <p:sldId id="290" r:id="rId15"/>
    <p:sldId id="291" r:id="rId16"/>
    <p:sldId id="292" r:id="rId17"/>
    <p:sldId id="297" r:id="rId18"/>
    <p:sldId id="293" r:id="rId19"/>
    <p:sldId id="294" r:id="rId20"/>
    <p:sldId id="298" r:id="rId21"/>
    <p:sldId id="295" r:id="rId22"/>
    <p:sldId id="296" r:id="rId23"/>
    <p:sldId id="280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829" autoAdjust="0"/>
  </p:normalViewPr>
  <p:slideViewPr>
    <p:cSldViewPr>
      <p:cViewPr>
        <p:scale>
          <a:sx n="110" d="100"/>
          <a:sy n="110" d="100"/>
        </p:scale>
        <p:origin x="-1632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8292DB-0CBE-4E6C-AB3F-62040A55E41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91BD71A-4DD5-430E-9493-83FEC72B5563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>
        <a:solidFill>
          <a:srgbClr val="0070C0"/>
        </a:solidFill>
        <a:ln>
          <a:noFill/>
        </a:ln>
        <a:effectLst>
          <a:outerShdw blurRad="40000" dist="23000" dir="5400000" rotWithShape="0">
            <a:schemeClr val="bg1">
              <a:alpha val="35000"/>
            </a:schemeClr>
          </a:outerShdw>
        </a:effectLst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  <a:latin typeface="+mj-lt"/>
            </a:rPr>
            <a:t>Software Architecture Evolution</a:t>
          </a:r>
          <a:endParaRPr lang="en-US" sz="2400" b="0" dirty="0">
            <a:solidFill>
              <a:schemeClr val="bg1"/>
            </a:solidFill>
            <a:latin typeface="+mj-lt"/>
          </a:endParaRPr>
        </a:p>
      </dgm:t>
    </dgm:pt>
    <dgm:pt modelId="{A3E5EDAB-52BE-45BC-939D-6A9B5EE42DA5}" type="parTrans" cxnId="{7B8F5B3F-6650-4901-B20D-DEF4750A4E75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5F51BE2-5346-43CC-B317-BCFE97745903}" type="sibTrans" cxnId="{7B8F5B3F-6650-4901-B20D-DEF4750A4E75}">
      <dgm:prSet/>
      <dgm:spPr>
        <a:ln>
          <a:solidFill>
            <a:srgbClr val="002060"/>
          </a:solidFill>
        </a:ln>
      </dgm:spPr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474E44B0-48DF-47FD-97B3-0923E966FE73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Current Limitations/Challenges</a:t>
          </a:r>
          <a:endParaRPr lang="en-US" sz="2400" b="0" dirty="0">
            <a:solidFill>
              <a:schemeClr val="bg1"/>
            </a:solidFill>
          </a:endParaRPr>
        </a:p>
      </dgm:t>
    </dgm:pt>
    <dgm:pt modelId="{E7725367-E7B7-4E70-ADC3-4219310EFE8C}" type="parTrans" cxnId="{17F3305D-C5A0-4255-B768-F334028AC9E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12E8B39-4414-4E79-8D8E-98CA8E4AF751}" type="sibTrans" cxnId="{17F3305D-C5A0-4255-B768-F334028AC9E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F25A0EB4-2CD1-43B2-842A-E4D32B64067B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Micro services adaption</a:t>
          </a:r>
          <a:endParaRPr lang="en-US" sz="2400" b="0" dirty="0">
            <a:solidFill>
              <a:schemeClr val="bg1"/>
            </a:solidFill>
          </a:endParaRPr>
        </a:p>
      </dgm:t>
    </dgm:pt>
    <dgm:pt modelId="{AAE9C59E-35B4-4BBC-A2F2-179D275AED83}" type="parTrans" cxnId="{50CACCA5-CAB5-402A-BA09-1501F5DB532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8F65BC7-CD40-4CD2-B7E4-0D23EDC55F4F}" type="sibTrans" cxnId="{50CACCA5-CAB5-402A-BA09-1501F5DB532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5BD7FAE0-BF50-4DD8-B50B-70B6296B340D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Example Use case</a:t>
          </a:r>
          <a:endParaRPr lang="en-US" sz="2400" b="0" dirty="0">
            <a:solidFill>
              <a:schemeClr val="bg1"/>
            </a:solidFill>
          </a:endParaRPr>
        </a:p>
      </dgm:t>
    </dgm:pt>
    <dgm:pt modelId="{DB46C0AC-75C9-4F13-AD63-B993DCB77C2F}" type="parTrans" cxnId="{108D6419-1F41-4032-903C-13C9698146D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D8AF55E2-B0A0-44B2-B897-4370C16F852B}" type="sibTrans" cxnId="{108D6419-1F41-4032-903C-13C9698146D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EF5D8929-8ADD-4CFB-B5B8-011A5CF029DC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Questions ?</a:t>
          </a:r>
          <a:endParaRPr lang="en-US" sz="2400" b="0" dirty="0">
            <a:solidFill>
              <a:schemeClr val="bg1"/>
            </a:solidFill>
          </a:endParaRPr>
        </a:p>
      </dgm:t>
    </dgm:pt>
    <dgm:pt modelId="{949CEDB8-6F42-4F8A-8EF3-6FB288EF7C37}" type="parTrans" cxnId="{7E31ED5F-2663-4E82-B9E5-75EF55AB4B6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C4F7E70-A73B-4FB6-B1F0-ED6B1B6FBFAE}" type="sibTrans" cxnId="{7E31ED5F-2663-4E82-B9E5-75EF55AB4B6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5C715C24-6913-4CB7-91A2-67801B7BB90A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Spring Cloud Netflix ecosystem</a:t>
          </a:r>
          <a:endParaRPr lang="en-US" sz="2400" b="0" dirty="0">
            <a:solidFill>
              <a:schemeClr val="bg1"/>
            </a:solidFill>
          </a:endParaRPr>
        </a:p>
      </dgm:t>
    </dgm:pt>
    <dgm:pt modelId="{A7F715AB-3EEC-400F-B161-C3E7C4F57CC2}" type="parTrans" cxnId="{0D6D48DF-1157-4E8F-88F6-762696475E3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47B0996-C580-4354-A032-74E4AF826186}" type="sibTrans" cxnId="{0D6D48DF-1157-4E8F-88F6-762696475E3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0EBDC46-B1FB-4232-ADDB-A6545E917E70}" type="pres">
      <dgm:prSet presAssocID="{C98292DB-0CBE-4E6C-AB3F-62040A55E41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F7FF7019-721C-4942-9161-4B41A5152A43}" type="pres">
      <dgm:prSet presAssocID="{C98292DB-0CBE-4E6C-AB3F-62040A55E41C}" presName="Name1" presStyleCnt="0"/>
      <dgm:spPr/>
    </dgm:pt>
    <dgm:pt modelId="{9A632AA4-1E42-4074-AA0D-26B90A96A47F}" type="pres">
      <dgm:prSet presAssocID="{C98292DB-0CBE-4E6C-AB3F-62040A55E41C}" presName="cycle" presStyleCnt="0"/>
      <dgm:spPr/>
    </dgm:pt>
    <dgm:pt modelId="{04A1E829-D8C9-4823-B56F-83D0C990743E}" type="pres">
      <dgm:prSet presAssocID="{C98292DB-0CBE-4E6C-AB3F-62040A55E41C}" presName="srcNode" presStyleLbl="node1" presStyleIdx="0" presStyleCnt="6"/>
      <dgm:spPr/>
    </dgm:pt>
    <dgm:pt modelId="{C2AE3436-0951-4B60-A8B8-AE3BD664ACD3}" type="pres">
      <dgm:prSet presAssocID="{C98292DB-0CBE-4E6C-AB3F-62040A55E41C}" presName="conn" presStyleLbl="parChTrans1D2" presStyleIdx="0" presStyleCnt="1"/>
      <dgm:spPr/>
      <dgm:t>
        <a:bodyPr/>
        <a:lstStyle/>
        <a:p>
          <a:endParaRPr lang="en-US"/>
        </a:p>
      </dgm:t>
    </dgm:pt>
    <dgm:pt modelId="{14348C66-B83A-4B9E-A511-8CEC325289C2}" type="pres">
      <dgm:prSet presAssocID="{C98292DB-0CBE-4E6C-AB3F-62040A55E41C}" presName="extraNode" presStyleLbl="node1" presStyleIdx="0" presStyleCnt="6"/>
      <dgm:spPr/>
    </dgm:pt>
    <dgm:pt modelId="{9D003C2A-BA55-46E7-9350-0B92F07237C6}" type="pres">
      <dgm:prSet presAssocID="{C98292DB-0CBE-4E6C-AB3F-62040A55E41C}" presName="dstNode" presStyleLbl="node1" presStyleIdx="0" presStyleCnt="6"/>
      <dgm:spPr/>
    </dgm:pt>
    <dgm:pt modelId="{31A75FEF-0C9C-4746-BC7A-458E3CD6364D}" type="pres">
      <dgm:prSet presAssocID="{791BD71A-4DD5-430E-9493-83FEC72B5563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551284-E9D7-48DA-9709-8C1F6DC52C2C}" type="pres">
      <dgm:prSet presAssocID="{791BD71A-4DD5-430E-9493-83FEC72B5563}" presName="accent_1" presStyleCnt="0"/>
      <dgm:spPr/>
    </dgm:pt>
    <dgm:pt modelId="{89478779-017D-47E1-B731-40A823290D57}" type="pres">
      <dgm:prSet presAssocID="{791BD71A-4DD5-430E-9493-83FEC72B5563}" presName="accentRepeatNode" presStyleLbl="solidFgAcc1" presStyleIdx="0" presStyleCnt="6" custScaleX="89274" custScaleY="93262"/>
      <dgm:spPr>
        <a:solidFill>
          <a:srgbClr val="0070C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35357D5D-AA78-422E-BD22-B9CF70BC59D0}" type="pres">
      <dgm:prSet presAssocID="{474E44B0-48DF-47FD-97B3-0923E966FE73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7BD37E-C614-4D66-B498-205618A2A641}" type="pres">
      <dgm:prSet presAssocID="{474E44B0-48DF-47FD-97B3-0923E966FE73}" presName="accent_2" presStyleCnt="0"/>
      <dgm:spPr/>
    </dgm:pt>
    <dgm:pt modelId="{063CBAA2-DB6C-4E05-853A-B37F0918D510}" type="pres">
      <dgm:prSet presAssocID="{474E44B0-48DF-47FD-97B3-0923E966FE73}" presName="accentRepeatNode" presStyleLbl="solidFgAcc1" presStyleIdx="1" presStyleCnt="6" custScaleX="89274" custScaleY="93262"/>
      <dgm:spPr>
        <a:solidFill>
          <a:srgbClr val="0070C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CA08A3FF-E697-46B9-BDEA-998C4306E29F}" type="pres">
      <dgm:prSet presAssocID="{F25A0EB4-2CD1-43B2-842A-E4D32B64067B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00A446-EE32-41AE-99E2-975A5194891B}" type="pres">
      <dgm:prSet presAssocID="{F25A0EB4-2CD1-43B2-842A-E4D32B64067B}" presName="accent_3" presStyleCnt="0"/>
      <dgm:spPr/>
    </dgm:pt>
    <dgm:pt modelId="{0D7B75B1-1D03-40C3-BA42-9F98EAB353CA}" type="pres">
      <dgm:prSet presAssocID="{F25A0EB4-2CD1-43B2-842A-E4D32B64067B}" presName="accentRepeatNode" presStyleLbl="solidFgAcc1" presStyleIdx="2" presStyleCnt="6" custScaleX="89274" custScaleY="93262"/>
      <dgm:spPr>
        <a:solidFill>
          <a:srgbClr val="0070C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181AAA7E-9789-4B99-865E-D1DFA02F0665}" type="pres">
      <dgm:prSet presAssocID="{5C715C24-6913-4CB7-91A2-67801B7BB90A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9FDED8-F5DA-4A46-A6FA-BC68F8904268}" type="pres">
      <dgm:prSet presAssocID="{5C715C24-6913-4CB7-91A2-67801B7BB90A}" presName="accent_4" presStyleCnt="0"/>
      <dgm:spPr/>
    </dgm:pt>
    <dgm:pt modelId="{EA81834E-40E6-466A-9894-E16F8652A29B}" type="pres">
      <dgm:prSet presAssocID="{5C715C24-6913-4CB7-91A2-67801B7BB90A}" presName="accentRepeatNode" presStyleLbl="solidFgAcc1" presStyleIdx="3" presStyleCnt="6" custScaleX="89274" custScaleY="93262"/>
      <dgm:spPr>
        <a:solidFill>
          <a:srgbClr val="0070C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A821F000-06F5-4A7B-A720-4B06F6EB8258}" type="pres">
      <dgm:prSet presAssocID="{5BD7FAE0-BF50-4DD8-B50B-70B6296B340D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BB73C7-D66F-480D-A74C-D28E17A48476}" type="pres">
      <dgm:prSet presAssocID="{5BD7FAE0-BF50-4DD8-B50B-70B6296B340D}" presName="accent_5" presStyleCnt="0"/>
      <dgm:spPr/>
    </dgm:pt>
    <dgm:pt modelId="{3A87F690-BCBB-4356-972E-EA4289DE8B37}" type="pres">
      <dgm:prSet presAssocID="{5BD7FAE0-BF50-4DD8-B50B-70B6296B340D}" presName="accentRepeatNode" presStyleLbl="solidFgAcc1" presStyleIdx="4" presStyleCnt="6" custScaleX="89274" custScaleY="93262"/>
      <dgm:spPr>
        <a:solidFill>
          <a:srgbClr val="0070C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04FACCE1-5421-4E3A-A184-3F2B4934639D}" type="pres">
      <dgm:prSet presAssocID="{EF5D8929-8ADD-4CFB-B5B8-011A5CF029DC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4FB6D8-55C6-48F2-9959-720915AA5843}" type="pres">
      <dgm:prSet presAssocID="{EF5D8929-8ADD-4CFB-B5B8-011A5CF029DC}" presName="accent_6" presStyleCnt="0"/>
      <dgm:spPr/>
    </dgm:pt>
    <dgm:pt modelId="{3DF6AE6A-751E-42E4-A518-B10AAF8551D8}" type="pres">
      <dgm:prSet presAssocID="{EF5D8929-8ADD-4CFB-B5B8-011A5CF029DC}" presName="accentRepeatNode" presStyleLbl="solidFgAcc1" presStyleIdx="5" presStyleCnt="6" custScaleX="89274" custScaleY="93262"/>
      <dgm:spPr>
        <a:solidFill>
          <a:srgbClr val="0070C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</dgm:ptLst>
  <dgm:cxnLst>
    <dgm:cxn modelId="{108D6419-1F41-4032-903C-13C9698146D7}" srcId="{C98292DB-0CBE-4E6C-AB3F-62040A55E41C}" destId="{5BD7FAE0-BF50-4DD8-B50B-70B6296B340D}" srcOrd="4" destOrd="0" parTransId="{DB46C0AC-75C9-4F13-AD63-B993DCB77C2F}" sibTransId="{D8AF55E2-B0A0-44B2-B897-4370C16F852B}"/>
    <dgm:cxn modelId="{4F065E1A-A03E-438D-879A-AE4D74D29ED8}" type="presOf" srcId="{C5F51BE2-5346-43CC-B317-BCFE97745903}" destId="{C2AE3436-0951-4B60-A8B8-AE3BD664ACD3}" srcOrd="0" destOrd="0" presId="urn:microsoft.com/office/officeart/2008/layout/VerticalCurvedList"/>
    <dgm:cxn modelId="{2BDD3300-0757-4E6F-8CCF-C86B1807FACB}" type="presOf" srcId="{EF5D8929-8ADD-4CFB-B5B8-011A5CF029DC}" destId="{04FACCE1-5421-4E3A-A184-3F2B4934639D}" srcOrd="0" destOrd="0" presId="urn:microsoft.com/office/officeart/2008/layout/VerticalCurvedList"/>
    <dgm:cxn modelId="{17F3305D-C5A0-4255-B768-F334028AC9E7}" srcId="{C98292DB-0CBE-4E6C-AB3F-62040A55E41C}" destId="{474E44B0-48DF-47FD-97B3-0923E966FE73}" srcOrd="1" destOrd="0" parTransId="{E7725367-E7B7-4E70-ADC3-4219310EFE8C}" sibTransId="{312E8B39-4414-4E79-8D8E-98CA8E4AF751}"/>
    <dgm:cxn modelId="{50CACCA5-CAB5-402A-BA09-1501F5DB5328}" srcId="{C98292DB-0CBE-4E6C-AB3F-62040A55E41C}" destId="{F25A0EB4-2CD1-43B2-842A-E4D32B64067B}" srcOrd="2" destOrd="0" parTransId="{AAE9C59E-35B4-4BBC-A2F2-179D275AED83}" sibTransId="{38F65BC7-CD40-4CD2-B7E4-0D23EDC55F4F}"/>
    <dgm:cxn modelId="{7E31ED5F-2663-4E82-B9E5-75EF55AB4B67}" srcId="{C98292DB-0CBE-4E6C-AB3F-62040A55E41C}" destId="{EF5D8929-8ADD-4CFB-B5B8-011A5CF029DC}" srcOrd="5" destOrd="0" parTransId="{949CEDB8-6F42-4F8A-8EF3-6FB288EF7C37}" sibTransId="{CC4F7E70-A73B-4FB6-B1F0-ED6B1B6FBFAE}"/>
    <dgm:cxn modelId="{57224369-C3A0-4A1C-BA25-851A9116D739}" type="presOf" srcId="{5BD7FAE0-BF50-4DD8-B50B-70B6296B340D}" destId="{A821F000-06F5-4A7B-A720-4B06F6EB8258}" srcOrd="0" destOrd="0" presId="urn:microsoft.com/office/officeart/2008/layout/VerticalCurvedList"/>
    <dgm:cxn modelId="{C665F257-A9AF-4BFA-8703-9A1669142EDD}" type="presOf" srcId="{5C715C24-6913-4CB7-91A2-67801B7BB90A}" destId="{181AAA7E-9789-4B99-865E-D1DFA02F0665}" srcOrd="0" destOrd="0" presId="urn:microsoft.com/office/officeart/2008/layout/VerticalCurvedList"/>
    <dgm:cxn modelId="{92E2BFE9-B636-433B-9BBA-63918992034F}" type="presOf" srcId="{F25A0EB4-2CD1-43B2-842A-E4D32B64067B}" destId="{CA08A3FF-E697-46B9-BDEA-998C4306E29F}" srcOrd="0" destOrd="0" presId="urn:microsoft.com/office/officeart/2008/layout/VerticalCurvedList"/>
    <dgm:cxn modelId="{300D44BB-CC21-48BD-8CA0-B90B59479C5B}" type="presOf" srcId="{474E44B0-48DF-47FD-97B3-0923E966FE73}" destId="{35357D5D-AA78-422E-BD22-B9CF70BC59D0}" srcOrd="0" destOrd="0" presId="urn:microsoft.com/office/officeart/2008/layout/VerticalCurvedList"/>
    <dgm:cxn modelId="{0D6D48DF-1157-4E8F-88F6-762696475E38}" srcId="{C98292DB-0CBE-4E6C-AB3F-62040A55E41C}" destId="{5C715C24-6913-4CB7-91A2-67801B7BB90A}" srcOrd="3" destOrd="0" parTransId="{A7F715AB-3EEC-400F-B161-C3E7C4F57CC2}" sibTransId="{347B0996-C580-4354-A032-74E4AF826186}"/>
    <dgm:cxn modelId="{7B8F5B3F-6650-4901-B20D-DEF4750A4E75}" srcId="{C98292DB-0CBE-4E6C-AB3F-62040A55E41C}" destId="{791BD71A-4DD5-430E-9493-83FEC72B5563}" srcOrd="0" destOrd="0" parTransId="{A3E5EDAB-52BE-45BC-939D-6A9B5EE42DA5}" sibTransId="{C5F51BE2-5346-43CC-B317-BCFE97745903}"/>
    <dgm:cxn modelId="{56BBC7F2-F68D-41A7-B9FF-EEFA309517F0}" type="presOf" srcId="{791BD71A-4DD5-430E-9493-83FEC72B5563}" destId="{31A75FEF-0C9C-4746-BC7A-458E3CD6364D}" srcOrd="0" destOrd="0" presId="urn:microsoft.com/office/officeart/2008/layout/VerticalCurvedList"/>
    <dgm:cxn modelId="{B4ED9E46-4C88-406C-BC95-0D8CDB007D1F}" type="presOf" srcId="{C98292DB-0CBE-4E6C-AB3F-62040A55E41C}" destId="{C0EBDC46-B1FB-4232-ADDB-A6545E917E70}" srcOrd="0" destOrd="0" presId="urn:microsoft.com/office/officeart/2008/layout/VerticalCurvedList"/>
    <dgm:cxn modelId="{057007EF-4924-4F69-98A4-36612A6121CB}" type="presParOf" srcId="{C0EBDC46-B1FB-4232-ADDB-A6545E917E70}" destId="{F7FF7019-721C-4942-9161-4B41A5152A43}" srcOrd="0" destOrd="0" presId="urn:microsoft.com/office/officeart/2008/layout/VerticalCurvedList"/>
    <dgm:cxn modelId="{28122930-BA5B-49CE-A309-61DAB23A89F8}" type="presParOf" srcId="{F7FF7019-721C-4942-9161-4B41A5152A43}" destId="{9A632AA4-1E42-4074-AA0D-26B90A96A47F}" srcOrd="0" destOrd="0" presId="urn:microsoft.com/office/officeart/2008/layout/VerticalCurvedList"/>
    <dgm:cxn modelId="{B625328D-90E2-40F3-A5F4-6E7261B454ED}" type="presParOf" srcId="{9A632AA4-1E42-4074-AA0D-26B90A96A47F}" destId="{04A1E829-D8C9-4823-B56F-83D0C990743E}" srcOrd="0" destOrd="0" presId="urn:microsoft.com/office/officeart/2008/layout/VerticalCurvedList"/>
    <dgm:cxn modelId="{FD303324-F099-484A-A2DC-D3E6E0485849}" type="presParOf" srcId="{9A632AA4-1E42-4074-AA0D-26B90A96A47F}" destId="{C2AE3436-0951-4B60-A8B8-AE3BD664ACD3}" srcOrd="1" destOrd="0" presId="urn:microsoft.com/office/officeart/2008/layout/VerticalCurvedList"/>
    <dgm:cxn modelId="{BF258B9F-1512-471E-8655-9E0E92FDDC71}" type="presParOf" srcId="{9A632AA4-1E42-4074-AA0D-26B90A96A47F}" destId="{14348C66-B83A-4B9E-A511-8CEC325289C2}" srcOrd="2" destOrd="0" presId="urn:microsoft.com/office/officeart/2008/layout/VerticalCurvedList"/>
    <dgm:cxn modelId="{96C21AE0-43B3-497F-ABFB-433BCB94BFE2}" type="presParOf" srcId="{9A632AA4-1E42-4074-AA0D-26B90A96A47F}" destId="{9D003C2A-BA55-46E7-9350-0B92F07237C6}" srcOrd="3" destOrd="0" presId="urn:microsoft.com/office/officeart/2008/layout/VerticalCurvedList"/>
    <dgm:cxn modelId="{CDA32202-CEDD-4097-8C96-C7D668F65B25}" type="presParOf" srcId="{F7FF7019-721C-4942-9161-4B41A5152A43}" destId="{31A75FEF-0C9C-4746-BC7A-458E3CD6364D}" srcOrd="1" destOrd="0" presId="urn:microsoft.com/office/officeart/2008/layout/VerticalCurvedList"/>
    <dgm:cxn modelId="{F5CD047A-C07A-4045-8C4B-0E224E77FA72}" type="presParOf" srcId="{F7FF7019-721C-4942-9161-4B41A5152A43}" destId="{BD551284-E9D7-48DA-9709-8C1F6DC52C2C}" srcOrd="2" destOrd="0" presId="urn:microsoft.com/office/officeart/2008/layout/VerticalCurvedList"/>
    <dgm:cxn modelId="{C6AE1770-3AC7-4987-A1BB-7EEE106F672B}" type="presParOf" srcId="{BD551284-E9D7-48DA-9709-8C1F6DC52C2C}" destId="{89478779-017D-47E1-B731-40A823290D57}" srcOrd="0" destOrd="0" presId="urn:microsoft.com/office/officeart/2008/layout/VerticalCurvedList"/>
    <dgm:cxn modelId="{DF319279-2242-4B33-A2A8-ED790D2927E9}" type="presParOf" srcId="{F7FF7019-721C-4942-9161-4B41A5152A43}" destId="{35357D5D-AA78-422E-BD22-B9CF70BC59D0}" srcOrd="3" destOrd="0" presId="urn:microsoft.com/office/officeart/2008/layout/VerticalCurvedList"/>
    <dgm:cxn modelId="{DA59F6A1-7975-4BDF-8FA0-7C32BFDA8AE0}" type="presParOf" srcId="{F7FF7019-721C-4942-9161-4B41A5152A43}" destId="{2F7BD37E-C614-4D66-B498-205618A2A641}" srcOrd="4" destOrd="0" presId="urn:microsoft.com/office/officeart/2008/layout/VerticalCurvedList"/>
    <dgm:cxn modelId="{6C20D742-1EE6-4FCE-8F6E-11A12D1F2135}" type="presParOf" srcId="{2F7BD37E-C614-4D66-B498-205618A2A641}" destId="{063CBAA2-DB6C-4E05-853A-B37F0918D510}" srcOrd="0" destOrd="0" presId="urn:microsoft.com/office/officeart/2008/layout/VerticalCurvedList"/>
    <dgm:cxn modelId="{5A4A723D-4E2D-49BE-9B93-740A0C745807}" type="presParOf" srcId="{F7FF7019-721C-4942-9161-4B41A5152A43}" destId="{CA08A3FF-E697-46B9-BDEA-998C4306E29F}" srcOrd="5" destOrd="0" presId="urn:microsoft.com/office/officeart/2008/layout/VerticalCurvedList"/>
    <dgm:cxn modelId="{5AA311CC-044F-4962-96D7-9DC6BF9F20AA}" type="presParOf" srcId="{F7FF7019-721C-4942-9161-4B41A5152A43}" destId="{0500A446-EE32-41AE-99E2-975A5194891B}" srcOrd="6" destOrd="0" presId="urn:microsoft.com/office/officeart/2008/layout/VerticalCurvedList"/>
    <dgm:cxn modelId="{AD9C4E7B-C220-4943-986B-38D5D981EBE6}" type="presParOf" srcId="{0500A446-EE32-41AE-99E2-975A5194891B}" destId="{0D7B75B1-1D03-40C3-BA42-9F98EAB353CA}" srcOrd="0" destOrd="0" presId="urn:microsoft.com/office/officeart/2008/layout/VerticalCurvedList"/>
    <dgm:cxn modelId="{4DF39E2B-CC23-427D-B72C-1DA03510CD24}" type="presParOf" srcId="{F7FF7019-721C-4942-9161-4B41A5152A43}" destId="{181AAA7E-9789-4B99-865E-D1DFA02F0665}" srcOrd="7" destOrd="0" presId="urn:microsoft.com/office/officeart/2008/layout/VerticalCurvedList"/>
    <dgm:cxn modelId="{A812141D-C8AA-4904-9270-165BFA5C56D9}" type="presParOf" srcId="{F7FF7019-721C-4942-9161-4B41A5152A43}" destId="{D39FDED8-F5DA-4A46-A6FA-BC68F8904268}" srcOrd="8" destOrd="0" presId="urn:microsoft.com/office/officeart/2008/layout/VerticalCurvedList"/>
    <dgm:cxn modelId="{24B0B412-A294-4804-BE47-324D732F78D5}" type="presParOf" srcId="{D39FDED8-F5DA-4A46-A6FA-BC68F8904268}" destId="{EA81834E-40E6-466A-9894-E16F8652A29B}" srcOrd="0" destOrd="0" presId="urn:microsoft.com/office/officeart/2008/layout/VerticalCurvedList"/>
    <dgm:cxn modelId="{F210DFF6-6206-4ACF-816D-65851093862E}" type="presParOf" srcId="{F7FF7019-721C-4942-9161-4B41A5152A43}" destId="{A821F000-06F5-4A7B-A720-4B06F6EB8258}" srcOrd="9" destOrd="0" presId="urn:microsoft.com/office/officeart/2008/layout/VerticalCurvedList"/>
    <dgm:cxn modelId="{E560EB81-7D12-4098-BAFF-5784AFA81899}" type="presParOf" srcId="{F7FF7019-721C-4942-9161-4B41A5152A43}" destId="{15BB73C7-D66F-480D-A74C-D28E17A48476}" srcOrd="10" destOrd="0" presId="urn:microsoft.com/office/officeart/2008/layout/VerticalCurvedList"/>
    <dgm:cxn modelId="{2C9C6AA6-750F-48BA-9AFC-BA20F9E536CC}" type="presParOf" srcId="{15BB73C7-D66F-480D-A74C-D28E17A48476}" destId="{3A87F690-BCBB-4356-972E-EA4289DE8B37}" srcOrd="0" destOrd="0" presId="urn:microsoft.com/office/officeart/2008/layout/VerticalCurvedList"/>
    <dgm:cxn modelId="{7AB8B753-0CE7-4D6A-9094-CFA02651BB80}" type="presParOf" srcId="{F7FF7019-721C-4942-9161-4B41A5152A43}" destId="{04FACCE1-5421-4E3A-A184-3F2B4934639D}" srcOrd="11" destOrd="0" presId="urn:microsoft.com/office/officeart/2008/layout/VerticalCurvedList"/>
    <dgm:cxn modelId="{D040F9A5-DB39-418E-B835-4803465997E3}" type="presParOf" srcId="{F7FF7019-721C-4942-9161-4B41A5152A43}" destId="{6E4FB6D8-55C6-48F2-9959-720915AA5843}" srcOrd="12" destOrd="0" presId="urn:microsoft.com/office/officeart/2008/layout/VerticalCurvedList"/>
    <dgm:cxn modelId="{78E525EB-1D5D-41C2-907F-0B0F84BCCE73}" type="presParOf" srcId="{6E4FB6D8-55C6-48F2-9959-720915AA5843}" destId="{3DF6AE6A-751E-42E4-A518-B10AAF8551D8}" srcOrd="0" destOrd="0" presId="urn:microsoft.com/office/officeart/2008/layout/VerticalCurv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D01E9-8076-454D-8842-0458930C37D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2E9BE94-C196-48AF-A20C-DBD07446205B}">
      <dgm:prSet phldrT="[Text]" custT="1"/>
      <dgm:spPr>
        <a:solidFill>
          <a:srgbClr val="002060"/>
        </a:solidFill>
        <a:ln>
          <a:noFill/>
        </a:ln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Standalone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3FF3BA35-DB3E-4E40-9828-A9DEE05BCA71}" type="parTrans" cxnId="{92C5995D-23EB-43D0-974B-F3A25C1762B4}">
      <dgm:prSet/>
      <dgm:spPr/>
      <dgm:t>
        <a:bodyPr/>
        <a:lstStyle/>
        <a:p>
          <a:endParaRPr lang="en-US"/>
        </a:p>
      </dgm:t>
    </dgm:pt>
    <dgm:pt modelId="{243567F8-E203-4100-8A1B-C1D2BC331674}" type="sibTrans" cxnId="{92C5995D-23EB-43D0-974B-F3A25C1762B4}">
      <dgm:prSet/>
      <dgm:spPr/>
      <dgm:t>
        <a:bodyPr/>
        <a:lstStyle/>
        <a:p>
          <a:endParaRPr lang="en-US"/>
        </a:p>
      </dgm:t>
    </dgm:pt>
    <dgm:pt modelId="{ACDC39BA-1284-4342-B497-45E9FDF61A7D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Client-Server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F23BB48C-881F-4BA8-B8CA-198BB5CB7AD5}" type="parTrans" cxnId="{4307C61F-307F-4DEF-B35B-43525A1DA2B0}">
      <dgm:prSet/>
      <dgm:spPr/>
      <dgm:t>
        <a:bodyPr/>
        <a:lstStyle/>
        <a:p>
          <a:endParaRPr lang="en-US"/>
        </a:p>
      </dgm:t>
    </dgm:pt>
    <dgm:pt modelId="{9DCF23CF-2945-4AF8-80A5-886F3096CBAC}" type="sibTrans" cxnId="{4307C61F-307F-4DEF-B35B-43525A1DA2B0}">
      <dgm:prSet/>
      <dgm:spPr/>
      <dgm:t>
        <a:bodyPr/>
        <a:lstStyle/>
        <a:p>
          <a:endParaRPr lang="en-US"/>
        </a:p>
      </dgm:t>
    </dgm:pt>
    <dgm:pt modelId="{496FAA4B-A33E-45D8-B521-15412CC3BE6A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N-tier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57EF007A-062E-4A68-A0FA-C2A2558CF4AD}" type="parTrans" cxnId="{B638B249-F82A-4ABE-B3DA-01DD1F26D719}">
      <dgm:prSet/>
      <dgm:spPr/>
      <dgm:t>
        <a:bodyPr/>
        <a:lstStyle/>
        <a:p>
          <a:endParaRPr lang="en-US"/>
        </a:p>
      </dgm:t>
    </dgm:pt>
    <dgm:pt modelId="{A78B1B34-BBC1-4567-A736-DD34DCCDF794}" type="sibTrans" cxnId="{B638B249-F82A-4ABE-B3DA-01DD1F26D719}">
      <dgm:prSet/>
      <dgm:spPr/>
      <dgm:t>
        <a:bodyPr/>
        <a:lstStyle/>
        <a:p>
          <a:endParaRPr lang="en-US"/>
        </a:p>
      </dgm:t>
    </dgm:pt>
    <dgm:pt modelId="{9BF84D13-829D-47BB-8D76-EA2184EABF99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SOAP SOA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7F178462-E21B-47CA-9574-3C34AB84792D}" type="parTrans" cxnId="{808C7EDC-BDB5-41BC-87BE-78EAC4B505B1}">
      <dgm:prSet/>
      <dgm:spPr/>
      <dgm:t>
        <a:bodyPr/>
        <a:lstStyle/>
        <a:p>
          <a:endParaRPr lang="en-US"/>
        </a:p>
      </dgm:t>
    </dgm:pt>
    <dgm:pt modelId="{BAA2541D-C1BD-4CC0-BA57-75354BABC1DF}" type="sibTrans" cxnId="{808C7EDC-BDB5-41BC-87BE-78EAC4B505B1}">
      <dgm:prSet/>
      <dgm:spPr/>
      <dgm:t>
        <a:bodyPr/>
        <a:lstStyle/>
        <a:p>
          <a:endParaRPr lang="en-US"/>
        </a:p>
      </dgm:t>
    </dgm:pt>
    <dgm:pt modelId="{91DAAA92-B028-4C4C-9A05-E58D92B608AC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REST / API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869A5353-3D3F-463D-9AD7-CFB09A1ADED3}" type="parTrans" cxnId="{F9E75F63-CEA3-4E95-8436-1BD07DBAE654}">
      <dgm:prSet/>
      <dgm:spPr/>
      <dgm:t>
        <a:bodyPr/>
        <a:lstStyle/>
        <a:p>
          <a:endParaRPr lang="en-US"/>
        </a:p>
      </dgm:t>
    </dgm:pt>
    <dgm:pt modelId="{37BB0F49-C019-4A31-A9F6-76472B569FEB}" type="sibTrans" cxnId="{F9E75F63-CEA3-4E95-8436-1BD07DBAE654}">
      <dgm:prSet/>
      <dgm:spPr/>
      <dgm:t>
        <a:bodyPr/>
        <a:lstStyle/>
        <a:p>
          <a:endParaRPr lang="en-US"/>
        </a:p>
      </dgm:t>
    </dgm:pt>
    <dgm:pt modelId="{732AB2B3-49D6-4874-9F00-52A7EF46759B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200" b="1" dirty="0" smtClean="0"/>
            <a:t>Micro services</a:t>
          </a:r>
          <a:endParaRPr lang="en-US" sz="1200" b="1" dirty="0"/>
        </a:p>
      </dgm:t>
    </dgm:pt>
    <dgm:pt modelId="{AAF76D88-D6B6-4273-8B7B-BB89A1389CC5}" type="parTrans" cxnId="{C061767D-3B90-4886-B644-BE126F335264}">
      <dgm:prSet/>
      <dgm:spPr/>
      <dgm:t>
        <a:bodyPr/>
        <a:lstStyle/>
        <a:p>
          <a:endParaRPr lang="en-US"/>
        </a:p>
      </dgm:t>
    </dgm:pt>
    <dgm:pt modelId="{508595D9-39B0-4354-AC37-387B05A70D96}" type="sibTrans" cxnId="{C061767D-3B90-4886-B644-BE126F335264}">
      <dgm:prSet/>
      <dgm:spPr/>
      <dgm:t>
        <a:bodyPr/>
        <a:lstStyle/>
        <a:p>
          <a:endParaRPr lang="en-US"/>
        </a:p>
      </dgm:t>
    </dgm:pt>
    <dgm:pt modelId="{F22070C3-673D-45BE-BDED-86E244703510}" type="pres">
      <dgm:prSet presAssocID="{FD8D01E9-8076-454D-8842-0458930C37DA}" presName="Name0" presStyleCnt="0">
        <dgm:presLayoutVars>
          <dgm:dir/>
          <dgm:animLvl val="lvl"/>
          <dgm:resizeHandles val="exact"/>
        </dgm:presLayoutVars>
      </dgm:prSet>
      <dgm:spPr/>
    </dgm:pt>
    <dgm:pt modelId="{84F0EE61-411E-4271-904A-2551A7D97E5B}" type="pres">
      <dgm:prSet presAssocID="{22E9BE94-C196-48AF-A20C-DBD07446205B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47CA9D-C873-4613-9EA2-D842D27F4256}" type="pres">
      <dgm:prSet presAssocID="{243567F8-E203-4100-8A1B-C1D2BC331674}" presName="parTxOnlySpace" presStyleCnt="0"/>
      <dgm:spPr/>
    </dgm:pt>
    <dgm:pt modelId="{2FED07EE-86CF-4BCB-B88C-9B2736429D4B}" type="pres">
      <dgm:prSet presAssocID="{ACDC39BA-1284-4342-B497-45E9FDF61A7D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3D3987-2460-4928-B71C-18ECFD179A56}" type="pres">
      <dgm:prSet presAssocID="{9DCF23CF-2945-4AF8-80A5-886F3096CBAC}" presName="parTxOnlySpace" presStyleCnt="0"/>
      <dgm:spPr/>
    </dgm:pt>
    <dgm:pt modelId="{10A09D8A-353D-4F92-AA1C-FDD78C26EA23}" type="pres">
      <dgm:prSet presAssocID="{496FAA4B-A33E-45D8-B521-15412CC3BE6A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A91368-6645-41E6-A4A2-F8459AE04E1E}" type="pres">
      <dgm:prSet presAssocID="{A78B1B34-BBC1-4567-A736-DD34DCCDF794}" presName="parTxOnlySpace" presStyleCnt="0"/>
      <dgm:spPr/>
    </dgm:pt>
    <dgm:pt modelId="{13AA68D4-3045-42E9-91E4-63FCB4AD66EA}" type="pres">
      <dgm:prSet presAssocID="{9BF84D13-829D-47BB-8D76-EA2184EABF99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FD1C90-2503-4DBE-A625-8315BF5BE9AE}" type="pres">
      <dgm:prSet presAssocID="{BAA2541D-C1BD-4CC0-BA57-75354BABC1DF}" presName="parTxOnlySpace" presStyleCnt="0"/>
      <dgm:spPr/>
    </dgm:pt>
    <dgm:pt modelId="{016D239F-4890-4D64-AE1F-0BD8202677D0}" type="pres">
      <dgm:prSet presAssocID="{91DAAA92-B028-4C4C-9A05-E58D92B608AC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0ACD68-9C1E-43CE-BA66-AF7505E1956B}" type="pres">
      <dgm:prSet presAssocID="{37BB0F49-C019-4A31-A9F6-76472B569FEB}" presName="parTxOnlySpace" presStyleCnt="0"/>
      <dgm:spPr/>
    </dgm:pt>
    <dgm:pt modelId="{E9BDAB84-DCF3-44E8-9AE7-E985884BD6DB}" type="pres">
      <dgm:prSet presAssocID="{732AB2B3-49D6-4874-9F00-52A7EF46759B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E75F63-CEA3-4E95-8436-1BD07DBAE654}" srcId="{FD8D01E9-8076-454D-8842-0458930C37DA}" destId="{91DAAA92-B028-4C4C-9A05-E58D92B608AC}" srcOrd="4" destOrd="0" parTransId="{869A5353-3D3F-463D-9AD7-CFB09A1ADED3}" sibTransId="{37BB0F49-C019-4A31-A9F6-76472B569FEB}"/>
    <dgm:cxn modelId="{912E748D-ACEB-4A6B-A805-7A89D3F88E5C}" type="presOf" srcId="{732AB2B3-49D6-4874-9F00-52A7EF46759B}" destId="{E9BDAB84-DCF3-44E8-9AE7-E985884BD6DB}" srcOrd="0" destOrd="0" presId="urn:microsoft.com/office/officeart/2005/8/layout/chevron1"/>
    <dgm:cxn modelId="{92C5995D-23EB-43D0-974B-F3A25C1762B4}" srcId="{FD8D01E9-8076-454D-8842-0458930C37DA}" destId="{22E9BE94-C196-48AF-A20C-DBD07446205B}" srcOrd="0" destOrd="0" parTransId="{3FF3BA35-DB3E-4E40-9828-A9DEE05BCA71}" sibTransId="{243567F8-E203-4100-8A1B-C1D2BC331674}"/>
    <dgm:cxn modelId="{ADC9F359-869A-4A6A-B530-80232299B024}" type="presOf" srcId="{22E9BE94-C196-48AF-A20C-DBD07446205B}" destId="{84F0EE61-411E-4271-904A-2551A7D97E5B}" srcOrd="0" destOrd="0" presId="urn:microsoft.com/office/officeart/2005/8/layout/chevron1"/>
    <dgm:cxn modelId="{7B13EEF1-C37D-4E19-B9FD-41662DD0F0B3}" type="presOf" srcId="{ACDC39BA-1284-4342-B497-45E9FDF61A7D}" destId="{2FED07EE-86CF-4BCB-B88C-9B2736429D4B}" srcOrd="0" destOrd="0" presId="urn:microsoft.com/office/officeart/2005/8/layout/chevron1"/>
    <dgm:cxn modelId="{808C7EDC-BDB5-41BC-87BE-78EAC4B505B1}" srcId="{FD8D01E9-8076-454D-8842-0458930C37DA}" destId="{9BF84D13-829D-47BB-8D76-EA2184EABF99}" srcOrd="3" destOrd="0" parTransId="{7F178462-E21B-47CA-9574-3C34AB84792D}" sibTransId="{BAA2541D-C1BD-4CC0-BA57-75354BABC1DF}"/>
    <dgm:cxn modelId="{14FE7557-0A14-43B0-BB60-39D134204C04}" type="presOf" srcId="{FD8D01E9-8076-454D-8842-0458930C37DA}" destId="{F22070C3-673D-45BE-BDED-86E244703510}" srcOrd="0" destOrd="0" presId="urn:microsoft.com/office/officeart/2005/8/layout/chevron1"/>
    <dgm:cxn modelId="{4307C61F-307F-4DEF-B35B-43525A1DA2B0}" srcId="{FD8D01E9-8076-454D-8842-0458930C37DA}" destId="{ACDC39BA-1284-4342-B497-45E9FDF61A7D}" srcOrd="1" destOrd="0" parTransId="{F23BB48C-881F-4BA8-B8CA-198BB5CB7AD5}" sibTransId="{9DCF23CF-2945-4AF8-80A5-886F3096CBAC}"/>
    <dgm:cxn modelId="{C061767D-3B90-4886-B644-BE126F335264}" srcId="{FD8D01E9-8076-454D-8842-0458930C37DA}" destId="{732AB2B3-49D6-4874-9F00-52A7EF46759B}" srcOrd="5" destOrd="0" parTransId="{AAF76D88-D6B6-4273-8B7B-BB89A1389CC5}" sibTransId="{508595D9-39B0-4354-AC37-387B05A70D96}"/>
    <dgm:cxn modelId="{D827B245-1A50-470F-B22B-B02584F49A00}" type="presOf" srcId="{91DAAA92-B028-4C4C-9A05-E58D92B608AC}" destId="{016D239F-4890-4D64-AE1F-0BD8202677D0}" srcOrd="0" destOrd="0" presId="urn:microsoft.com/office/officeart/2005/8/layout/chevron1"/>
    <dgm:cxn modelId="{B638B249-F82A-4ABE-B3DA-01DD1F26D719}" srcId="{FD8D01E9-8076-454D-8842-0458930C37DA}" destId="{496FAA4B-A33E-45D8-B521-15412CC3BE6A}" srcOrd="2" destOrd="0" parTransId="{57EF007A-062E-4A68-A0FA-C2A2558CF4AD}" sibTransId="{A78B1B34-BBC1-4567-A736-DD34DCCDF794}"/>
    <dgm:cxn modelId="{AD91B805-79F9-4DD3-A1B5-7CBD23D81034}" type="presOf" srcId="{496FAA4B-A33E-45D8-B521-15412CC3BE6A}" destId="{10A09D8A-353D-4F92-AA1C-FDD78C26EA23}" srcOrd="0" destOrd="0" presId="urn:microsoft.com/office/officeart/2005/8/layout/chevron1"/>
    <dgm:cxn modelId="{0889574B-E901-4633-8557-E69B17FD4734}" type="presOf" srcId="{9BF84D13-829D-47BB-8D76-EA2184EABF99}" destId="{13AA68D4-3045-42E9-91E4-63FCB4AD66EA}" srcOrd="0" destOrd="0" presId="urn:microsoft.com/office/officeart/2005/8/layout/chevron1"/>
    <dgm:cxn modelId="{95B8291E-1296-4A7C-ABD6-A6E2C3A5C793}" type="presParOf" srcId="{F22070C3-673D-45BE-BDED-86E244703510}" destId="{84F0EE61-411E-4271-904A-2551A7D97E5B}" srcOrd="0" destOrd="0" presId="urn:microsoft.com/office/officeart/2005/8/layout/chevron1"/>
    <dgm:cxn modelId="{E7FC91CB-8D4B-40A7-B225-0E33EC8B8690}" type="presParOf" srcId="{F22070C3-673D-45BE-BDED-86E244703510}" destId="{ED47CA9D-C873-4613-9EA2-D842D27F4256}" srcOrd="1" destOrd="0" presId="urn:microsoft.com/office/officeart/2005/8/layout/chevron1"/>
    <dgm:cxn modelId="{9C8D62F0-C802-41DC-8DB9-95768393D75A}" type="presParOf" srcId="{F22070C3-673D-45BE-BDED-86E244703510}" destId="{2FED07EE-86CF-4BCB-B88C-9B2736429D4B}" srcOrd="2" destOrd="0" presId="urn:microsoft.com/office/officeart/2005/8/layout/chevron1"/>
    <dgm:cxn modelId="{F945FC2A-CAEE-463E-ADCF-4FC858E0DB30}" type="presParOf" srcId="{F22070C3-673D-45BE-BDED-86E244703510}" destId="{963D3987-2460-4928-B71C-18ECFD179A56}" srcOrd="3" destOrd="0" presId="urn:microsoft.com/office/officeart/2005/8/layout/chevron1"/>
    <dgm:cxn modelId="{92F625D9-393E-4F96-9548-8DFD558639F8}" type="presParOf" srcId="{F22070C3-673D-45BE-BDED-86E244703510}" destId="{10A09D8A-353D-4F92-AA1C-FDD78C26EA23}" srcOrd="4" destOrd="0" presId="urn:microsoft.com/office/officeart/2005/8/layout/chevron1"/>
    <dgm:cxn modelId="{93720F18-CE56-4BA2-8FA9-DFEE9A6A0861}" type="presParOf" srcId="{F22070C3-673D-45BE-BDED-86E244703510}" destId="{1CA91368-6645-41E6-A4A2-F8459AE04E1E}" srcOrd="5" destOrd="0" presId="urn:microsoft.com/office/officeart/2005/8/layout/chevron1"/>
    <dgm:cxn modelId="{32882384-F200-4D41-B397-B9BEA1A23EBC}" type="presParOf" srcId="{F22070C3-673D-45BE-BDED-86E244703510}" destId="{13AA68D4-3045-42E9-91E4-63FCB4AD66EA}" srcOrd="6" destOrd="0" presId="urn:microsoft.com/office/officeart/2005/8/layout/chevron1"/>
    <dgm:cxn modelId="{1FB28F16-5BF2-44A7-A24B-7C09A89394A6}" type="presParOf" srcId="{F22070C3-673D-45BE-BDED-86E244703510}" destId="{42FD1C90-2503-4DBE-A625-8315BF5BE9AE}" srcOrd="7" destOrd="0" presId="urn:microsoft.com/office/officeart/2005/8/layout/chevron1"/>
    <dgm:cxn modelId="{371E5CD2-E050-48C8-AAA2-0EB69DD4108C}" type="presParOf" srcId="{F22070C3-673D-45BE-BDED-86E244703510}" destId="{016D239F-4890-4D64-AE1F-0BD8202677D0}" srcOrd="8" destOrd="0" presId="urn:microsoft.com/office/officeart/2005/8/layout/chevron1"/>
    <dgm:cxn modelId="{82FA9DE5-C64C-4D65-A6F5-20AF7E3C1028}" type="presParOf" srcId="{F22070C3-673D-45BE-BDED-86E244703510}" destId="{320ACD68-9C1E-43CE-BA66-AF7505E1956B}" srcOrd="9" destOrd="0" presId="urn:microsoft.com/office/officeart/2005/8/layout/chevron1"/>
    <dgm:cxn modelId="{7CCF3644-906B-49DC-BB0C-A4355486A0B0}" type="presParOf" srcId="{F22070C3-673D-45BE-BDED-86E244703510}" destId="{E9BDAB84-DCF3-44E8-9AE7-E985884BD6DB}" srcOrd="10" destOrd="0" presId="urn:microsoft.com/office/officeart/2005/8/layout/chevron1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600" b="0" i="0" dirty="0" smtClean="0">
              <a:latin typeface="+mj-lt"/>
            </a:rPr>
            <a:t>User </a:t>
          </a:r>
          <a:r>
            <a:rPr lang="en-US" sz="1600" b="0" i="0" dirty="0" smtClean="0">
              <a:latin typeface="+mn-lt"/>
            </a:rPr>
            <a:t>Experience</a:t>
          </a:r>
          <a:endParaRPr lang="en-US" sz="1600" b="0" i="0" dirty="0">
            <a:latin typeface="+mn-lt"/>
          </a:endParaRP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904F4153-2776-4143-A13E-5BE4B6701D2D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Support for the diversified client channels – Mobile, Web , Call Center</a:t>
          </a:r>
          <a:endParaRPr lang="en-US" sz="1400" i="1" dirty="0">
            <a:latin typeface="+mn-lt"/>
          </a:endParaRPr>
        </a:p>
      </dgm:t>
    </dgm:pt>
    <dgm:pt modelId="{39A9161E-42BE-4ADB-9895-D38552ABB1FD}" type="parTrans" cxnId="{E1AA964E-3B54-4A47-B343-D8FD0ADD22BF}">
      <dgm:prSet/>
      <dgm:spPr/>
      <dgm:t>
        <a:bodyPr/>
        <a:lstStyle/>
        <a:p>
          <a:endParaRPr lang="en-US"/>
        </a:p>
      </dgm:t>
    </dgm:pt>
    <dgm:pt modelId="{ACE74B2E-20BE-4BC1-BAD9-25179AEE04C9}" type="sibTrans" cxnId="{E1AA964E-3B54-4A47-B343-D8FD0ADD22BF}">
      <dgm:prSet/>
      <dgm:spPr/>
      <dgm:t>
        <a:bodyPr/>
        <a:lstStyle/>
        <a:p>
          <a:endParaRPr lang="en-US"/>
        </a:p>
      </dgm:t>
    </dgm:pt>
    <dgm:pt modelId="{03348488-4ED1-451A-893C-0333495C9DFD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Swivel Chair solution for the support and Call Center teams</a:t>
          </a:r>
        </a:p>
      </dgm:t>
    </dgm:pt>
    <dgm:pt modelId="{43A501AB-BC84-47F4-BD87-DF6CC19D85F6}" type="parTrans" cxnId="{5704A27A-B55C-485D-BF12-62FDF4E04062}">
      <dgm:prSet/>
      <dgm:spPr/>
      <dgm:t>
        <a:bodyPr/>
        <a:lstStyle/>
        <a:p>
          <a:endParaRPr lang="en-US"/>
        </a:p>
      </dgm:t>
    </dgm:pt>
    <dgm:pt modelId="{413D5DA5-7C80-4186-B1F9-348AF968AD01}" type="sibTrans" cxnId="{5704A27A-B55C-485D-BF12-62FDF4E04062}">
      <dgm:prSet/>
      <dgm:spPr/>
      <dgm:t>
        <a:bodyPr/>
        <a:lstStyle/>
        <a:p>
          <a:endParaRPr lang="en-US"/>
        </a:p>
      </dgm:t>
    </dgm:pt>
    <dgm:pt modelId="{C413BBBF-380C-4CEC-A8CF-B2FCC037CFC8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Infrastructure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Cost</a:t>
          </a:r>
        </a:p>
      </dgm:t>
    </dgm:pt>
    <dgm:pt modelId="{FE7B5542-196E-42B9-A14C-52859CC6E320}" type="parTrans" cxnId="{1D66994E-1217-4BF6-915F-78080F1F302E}">
      <dgm:prSet/>
      <dgm:spPr/>
      <dgm:t>
        <a:bodyPr/>
        <a:lstStyle/>
        <a:p>
          <a:endParaRPr lang="en-US"/>
        </a:p>
      </dgm:t>
    </dgm:pt>
    <dgm:pt modelId="{76907F42-89C2-4EA8-876B-54F448BB1999}" type="sibTrans" cxnId="{1D66994E-1217-4BF6-915F-78080F1F302E}">
      <dgm:prSet/>
      <dgm:spPr/>
      <dgm:t>
        <a:bodyPr/>
        <a:lstStyle/>
        <a:p>
          <a:endParaRPr lang="en-US"/>
        </a:p>
      </dgm:t>
    </dgm:pt>
    <dgm:pt modelId="{440E22D3-D065-41E6-888A-BC845BCE18BF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Complex Infrastructure</a:t>
          </a:r>
        </a:p>
      </dgm:t>
    </dgm:pt>
    <dgm:pt modelId="{F1457B74-7DD4-438D-AECA-4B3E3B446803}" type="parTrans" cxnId="{3CE11ABB-47E2-4A47-8D46-9EEE5243C62F}">
      <dgm:prSet/>
      <dgm:spPr/>
      <dgm:t>
        <a:bodyPr/>
        <a:lstStyle/>
        <a:p>
          <a:endParaRPr lang="en-US"/>
        </a:p>
      </dgm:t>
    </dgm:pt>
    <dgm:pt modelId="{6F5C4763-E7E3-4070-9641-E4C29F4A8111}" type="sibTrans" cxnId="{3CE11ABB-47E2-4A47-8D46-9EEE5243C62F}">
      <dgm:prSet/>
      <dgm:spPr/>
      <dgm:t>
        <a:bodyPr/>
        <a:lstStyle/>
        <a:p>
          <a:endParaRPr lang="en-US"/>
        </a:p>
      </dgm:t>
    </dgm:pt>
    <dgm:pt modelId="{BE58B731-9817-4AE6-84CF-55E900EFDC79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Expensive licensed software</a:t>
          </a:r>
        </a:p>
      </dgm:t>
    </dgm:pt>
    <dgm:pt modelId="{5117B687-96FA-46C1-B868-E0E734F3B4AF}" type="parTrans" cxnId="{7D4DDCF8-11D2-4BEA-925D-9A72F32034F5}">
      <dgm:prSet/>
      <dgm:spPr/>
      <dgm:t>
        <a:bodyPr/>
        <a:lstStyle/>
        <a:p>
          <a:endParaRPr lang="en-US"/>
        </a:p>
      </dgm:t>
    </dgm:pt>
    <dgm:pt modelId="{687872C5-5450-4DEE-9BFB-195A896745A2}" type="sibTrans" cxnId="{7D4DDCF8-11D2-4BEA-925D-9A72F32034F5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dirty="0" smtClean="0"/>
            <a:t>Support &amp;</a:t>
          </a:r>
        </a:p>
        <a:p>
          <a:pPr>
            <a:spcAft>
              <a:spcPts val="0"/>
            </a:spcAft>
          </a:pPr>
          <a:r>
            <a:rPr lang="en-US" sz="1600" b="0" dirty="0" smtClean="0"/>
            <a:t>Maintenance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Shirking skilled resource pool to understand AS/400 technology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0151E542-0B91-4ED2-B94F-84B30E3B39FE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Monolith application support and enhancement</a:t>
          </a:r>
        </a:p>
      </dgm:t>
    </dgm:pt>
    <dgm:pt modelId="{8477000F-AA98-4788-96A6-A0DC9A94A796}" type="parTrans" cxnId="{D3B35098-0DA1-44E6-B6E0-FB3884211031}">
      <dgm:prSet/>
      <dgm:spPr/>
      <dgm:t>
        <a:bodyPr/>
        <a:lstStyle/>
        <a:p>
          <a:endParaRPr lang="en-US"/>
        </a:p>
      </dgm:t>
    </dgm:pt>
    <dgm:pt modelId="{E46350BE-3408-4F47-A4E0-7EB16D52D2F0}" type="sibTrans" cxnId="{D3B35098-0DA1-44E6-B6E0-FB3884211031}">
      <dgm:prSet/>
      <dgm:spPr/>
      <dgm:t>
        <a:bodyPr/>
        <a:lstStyle/>
        <a:p>
          <a:endParaRPr lang="en-US"/>
        </a:p>
      </dgm:t>
    </dgm:pt>
    <dgm:pt modelId="{B916FD7A-B423-4376-84B7-3265ED6FD5BF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dirty="0" smtClean="0"/>
            <a:t>Enterprise</a:t>
          </a:r>
        </a:p>
        <a:p>
          <a:pPr>
            <a:spcAft>
              <a:spcPts val="0"/>
            </a:spcAft>
          </a:pPr>
          <a:r>
            <a:rPr lang="en-US" sz="1600" b="0" dirty="0" smtClean="0"/>
            <a:t>Integration</a:t>
          </a:r>
          <a:endParaRPr lang="en-US" sz="1600" b="0" dirty="0"/>
        </a:p>
      </dgm:t>
    </dgm:pt>
    <dgm:pt modelId="{7170C106-CE91-46A9-850E-8DDC2AF5957B}" type="parTrans" cxnId="{DED8CB76-E472-49BA-AE94-CE5A026CDCAC}">
      <dgm:prSet/>
      <dgm:spPr/>
      <dgm:t>
        <a:bodyPr/>
        <a:lstStyle/>
        <a:p>
          <a:endParaRPr lang="en-US"/>
        </a:p>
      </dgm:t>
    </dgm:pt>
    <dgm:pt modelId="{E66F8FB4-883C-4EB4-BFCC-5370F8D8CAD4}" type="sibTrans" cxnId="{DED8CB76-E472-49BA-AE94-CE5A026CDCAC}">
      <dgm:prSet/>
      <dgm:spPr/>
      <dgm:t>
        <a:bodyPr/>
        <a:lstStyle/>
        <a:p>
          <a:endParaRPr lang="en-US"/>
        </a:p>
      </dgm:t>
    </dgm:pt>
    <dgm:pt modelId="{E46C53BE-3A93-44E6-97A3-DE947C4F97F5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Integration with the existing systems , Business Processes and Services</a:t>
          </a:r>
        </a:p>
      </dgm:t>
    </dgm:pt>
    <dgm:pt modelId="{A9256A0F-7D46-4B2E-AD71-E2B78111BD8C}" type="parTrans" cxnId="{FB921876-ECC7-4A01-A2F4-3A56751FDD78}">
      <dgm:prSet/>
      <dgm:spPr/>
      <dgm:t>
        <a:bodyPr/>
        <a:lstStyle/>
        <a:p>
          <a:endParaRPr lang="en-US"/>
        </a:p>
      </dgm:t>
    </dgm:pt>
    <dgm:pt modelId="{98B21EBA-D9D2-4895-9FD2-CEEB0B6A4399}" type="sibTrans" cxnId="{FB921876-ECC7-4A01-A2F4-3A56751FDD78}">
      <dgm:prSet/>
      <dgm:spPr/>
      <dgm:t>
        <a:bodyPr/>
        <a:lstStyle/>
        <a:p>
          <a:endParaRPr lang="en-US"/>
        </a:p>
      </dgm:t>
    </dgm:pt>
    <dgm:pt modelId="{D2600128-8DB6-4F50-B3F5-5670A26372E4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Next Generation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Readiness</a:t>
          </a:r>
        </a:p>
      </dgm:t>
    </dgm:pt>
    <dgm:pt modelId="{8FF68D11-238A-41A8-B24A-1771A23F6CF4}" type="parTrans" cxnId="{11C7F687-7168-431B-BB89-4DF5D04A6F24}">
      <dgm:prSet/>
      <dgm:spPr/>
      <dgm:t>
        <a:bodyPr/>
        <a:lstStyle/>
        <a:p>
          <a:endParaRPr lang="en-US"/>
        </a:p>
      </dgm:t>
    </dgm:pt>
    <dgm:pt modelId="{D5F72E02-6938-47C1-B0FD-048003056EF6}" type="sibTrans" cxnId="{11C7F687-7168-431B-BB89-4DF5D04A6F24}">
      <dgm:prSet/>
      <dgm:spPr/>
      <dgm:t>
        <a:bodyPr/>
        <a:lstStyle/>
        <a:p>
          <a:endParaRPr lang="en-US"/>
        </a:p>
      </dgm:t>
    </dgm:pt>
    <dgm:pt modelId="{B6838545-F00D-4FD0-8017-4A0809BDF7D7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Business Capability as a Service</a:t>
          </a:r>
        </a:p>
      </dgm:t>
    </dgm:pt>
    <dgm:pt modelId="{6EAE872E-F982-41F7-B744-D063F26845DD}" type="parTrans" cxnId="{2FFD0853-D4E9-4A72-8AAD-B3E5E8CDB7A2}">
      <dgm:prSet/>
      <dgm:spPr/>
      <dgm:t>
        <a:bodyPr/>
        <a:lstStyle/>
        <a:p>
          <a:endParaRPr lang="en-US"/>
        </a:p>
      </dgm:t>
    </dgm:pt>
    <dgm:pt modelId="{6F4175F2-47A2-4669-8E9C-4239FEBF35B6}" type="sibTrans" cxnId="{2FFD0853-D4E9-4A72-8AAD-B3E5E8CDB7A2}">
      <dgm:prSet/>
      <dgm:spPr/>
      <dgm:t>
        <a:bodyPr/>
        <a:lstStyle/>
        <a:p>
          <a:endParaRPr lang="en-US"/>
        </a:p>
      </dgm:t>
    </dgm:pt>
    <dgm:pt modelId="{AC41FF3A-7FC1-4325-8E72-33B500F2E48F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“One Portal” experience to the users</a:t>
          </a:r>
        </a:p>
      </dgm:t>
    </dgm:pt>
    <dgm:pt modelId="{0C6748EB-CD66-43E9-AA71-3A711CD97CB5}" type="parTrans" cxnId="{97FDD0CF-4562-4B82-A65D-41CB3E503090}">
      <dgm:prSet/>
      <dgm:spPr/>
      <dgm:t>
        <a:bodyPr/>
        <a:lstStyle/>
        <a:p>
          <a:endParaRPr lang="en-US"/>
        </a:p>
      </dgm:t>
    </dgm:pt>
    <dgm:pt modelId="{5528B052-F1F3-44D6-BC67-8CCFEA208AE4}" type="sibTrans" cxnId="{97FDD0CF-4562-4B82-A65D-41CB3E503090}">
      <dgm:prSet/>
      <dgm:spPr/>
      <dgm:t>
        <a:bodyPr/>
        <a:lstStyle/>
        <a:p>
          <a:endParaRPr lang="en-US"/>
        </a:p>
      </dgm:t>
    </dgm:pt>
    <dgm:pt modelId="{8D40095C-50B9-4E9A-BCAC-37C1003A474D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Development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Practice</a:t>
          </a:r>
        </a:p>
      </dgm:t>
    </dgm:pt>
    <dgm:pt modelId="{E10A2872-41CB-4B6A-BA9E-DF024592A992}" type="parTrans" cxnId="{3273E72C-6B56-4432-BEFF-59FF7088333F}">
      <dgm:prSet/>
      <dgm:spPr/>
      <dgm:t>
        <a:bodyPr/>
        <a:lstStyle/>
        <a:p>
          <a:endParaRPr lang="en-US"/>
        </a:p>
      </dgm:t>
    </dgm:pt>
    <dgm:pt modelId="{63469500-0F86-4608-81F3-44F08A801745}" type="sibTrans" cxnId="{3273E72C-6B56-4432-BEFF-59FF7088333F}">
      <dgm:prSet/>
      <dgm:spPr/>
      <dgm:t>
        <a:bodyPr/>
        <a:lstStyle/>
        <a:p>
          <a:endParaRPr lang="en-US"/>
        </a:p>
      </dgm:t>
    </dgm:pt>
    <dgm:pt modelId="{AFA4DE56-0406-451B-A64A-A65D7BC489D0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Code quality with manually tested code</a:t>
          </a:r>
        </a:p>
      </dgm:t>
    </dgm:pt>
    <dgm:pt modelId="{437FAF5A-E924-4CEC-B61E-50DE987C020C}" type="parTrans" cxnId="{5BED1BE4-4511-48D8-B343-860778F186BD}">
      <dgm:prSet/>
      <dgm:spPr/>
      <dgm:t>
        <a:bodyPr/>
        <a:lstStyle/>
        <a:p>
          <a:endParaRPr lang="en-US"/>
        </a:p>
      </dgm:t>
    </dgm:pt>
    <dgm:pt modelId="{147D2027-2A49-46D9-AA7B-D9CC05C00B22}" type="sibTrans" cxnId="{5BED1BE4-4511-48D8-B343-860778F186BD}">
      <dgm:prSet/>
      <dgm:spPr/>
      <dgm:t>
        <a:bodyPr/>
        <a:lstStyle/>
        <a:p>
          <a:endParaRPr lang="en-US"/>
        </a:p>
      </dgm:t>
    </dgm:pt>
    <dgm:pt modelId="{22B1539B-3E3B-49D7-B1F7-BAFD81D59017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Federated development environment</a:t>
          </a:r>
        </a:p>
      </dgm:t>
    </dgm:pt>
    <dgm:pt modelId="{9CC85EB8-D2FB-4666-8F56-088D8A29B5BD}" type="parTrans" cxnId="{93A4814E-35CB-4633-ABBB-134DD8E61D4C}">
      <dgm:prSet/>
      <dgm:spPr/>
      <dgm:t>
        <a:bodyPr/>
        <a:lstStyle/>
        <a:p>
          <a:endParaRPr lang="en-US"/>
        </a:p>
      </dgm:t>
    </dgm:pt>
    <dgm:pt modelId="{B93901D5-97DC-4BF8-89A8-E9392F81A59F}" type="sibTrans" cxnId="{93A4814E-35CB-4633-ABBB-134DD8E61D4C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6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6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ECF6CA2C-2BBC-4AAB-9CBA-2A4CC201FAA2}" type="pres">
      <dgm:prSet presAssocID="{C413BBBF-380C-4CEC-A8CF-B2FCC037CFC8}" presName="linNode" presStyleCnt="0"/>
      <dgm:spPr/>
    </dgm:pt>
    <dgm:pt modelId="{20D97318-B57A-4656-9726-C99C8944366C}" type="pres">
      <dgm:prSet presAssocID="{C413BBBF-380C-4CEC-A8CF-B2FCC037CFC8}" presName="parentText" presStyleLbl="node1" presStyleIdx="1" presStyleCnt="6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FA480F-4DF8-4FAD-839E-F92CAD216378}" type="pres">
      <dgm:prSet presAssocID="{C413BBBF-380C-4CEC-A8CF-B2FCC037CFC8}" presName="descendantText" presStyleLbl="alignAccFollowNode1" presStyleIdx="1" presStyleCnt="6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460369-7986-45F6-8DB9-8199D7A81E79}" type="pres">
      <dgm:prSet presAssocID="{76907F42-89C2-4EA8-876B-54F448BB1999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2" presStyleCnt="6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2" presStyleCnt="6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E0EA74-7B86-4EDA-A8D0-65AB6A6D1264}" type="pres">
      <dgm:prSet presAssocID="{5F8B28FA-2EAB-4322-AA7E-30525F5A9B78}" presName="sp" presStyleCnt="0"/>
      <dgm:spPr/>
    </dgm:pt>
    <dgm:pt modelId="{049BFA19-5BA5-470A-AECC-4F39BF714F21}" type="pres">
      <dgm:prSet presAssocID="{B916FD7A-B423-4376-84B7-3265ED6FD5BF}" presName="linNode" presStyleCnt="0"/>
      <dgm:spPr/>
    </dgm:pt>
    <dgm:pt modelId="{71F82583-B10E-4E77-8BC2-03A246261B65}" type="pres">
      <dgm:prSet presAssocID="{B916FD7A-B423-4376-84B7-3265ED6FD5BF}" presName="parentText" presStyleLbl="node1" presStyleIdx="3" presStyleCnt="6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C569A1-F95A-4F93-8757-99CFECB1D562}" type="pres">
      <dgm:prSet presAssocID="{B916FD7A-B423-4376-84B7-3265ED6FD5BF}" presName="descendantText" presStyleLbl="alignAccFollowNode1" presStyleIdx="3" presStyleCnt="6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EEA0FA-0C79-458E-83DF-E15677B2B9C1}" type="pres">
      <dgm:prSet presAssocID="{E66F8FB4-883C-4EB4-BFCC-5370F8D8CAD4}" presName="sp" presStyleCnt="0"/>
      <dgm:spPr/>
    </dgm:pt>
    <dgm:pt modelId="{98A11246-B3CF-4AD9-AB82-E9522B0116B0}" type="pres">
      <dgm:prSet presAssocID="{D2600128-8DB6-4F50-B3F5-5670A26372E4}" presName="linNode" presStyleCnt="0"/>
      <dgm:spPr/>
    </dgm:pt>
    <dgm:pt modelId="{A3A658F6-405E-470F-9602-3657DFB1C7FB}" type="pres">
      <dgm:prSet presAssocID="{D2600128-8DB6-4F50-B3F5-5670A26372E4}" presName="parentText" presStyleLbl="node1" presStyleIdx="4" presStyleCnt="6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EE1C8A-D50A-43DC-8770-259105F406F4}" type="pres">
      <dgm:prSet presAssocID="{D2600128-8DB6-4F50-B3F5-5670A26372E4}" presName="descendantText" presStyleLbl="alignAccFollowNode1" presStyleIdx="4" presStyleCnt="6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422F20F-C21E-4959-AE5C-36FB722E61C4}" type="pres">
      <dgm:prSet presAssocID="{D5F72E02-6938-47C1-B0FD-048003056EF6}" presName="sp" presStyleCnt="0"/>
      <dgm:spPr/>
    </dgm:pt>
    <dgm:pt modelId="{CE5F7D6F-C0BD-4C16-BB7D-9B3BF25D3B30}" type="pres">
      <dgm:prSet presAssocID="{8D40095C-50B9-4E9A-BCAC-37C1003A474D}" presName="linNode" presStyleCnt="0"/>
      <dgm:spPr/>
    </dgm:pt>
    <dgm:pt modelId="{9C1F07CD-EDD1-4AD8-B505-845FC24081BD}" type="pres">
      <dgm:prSet presAssocID="{8D40095C-50B9-4E9A-BCAC-37C1003A474D}" presName="parentText" presStyleLbl="node1" presStyleIdx="5" presStyleCnt="6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01C423-AB10-4EDA-98B7-FB811A8913C6}" type="pres">
      <dgm:prSet presAssocID="{8D40095C-50B9-4E9A-BCAC-37C1003A474D}" presName="descendantText" presStyleLbl="alignAccFollowNode1" presStyleIdx="5" presStyleCnt="6" custScaleX="116303" custLinFactNeighborX="-523" custLinFactNeighborY="-19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5704A27A-B55C-485D-BF12-62FDF4E04062}" srcId="{AA242DEA-79C5-449E-8309-C3AD15B892FA}" destId="{03348488-4ED1-451A-893C-0333495C9DFD}" srcOrd="1" destOrd="0" parTransId="{43A501AB-BC84-47F4-BD87-DF6CC19D85F6}" sibTransId="{413D5DA5-7C80-4186-B1F9-348AF968AD01}"/>
    <dgm:cxn modelId="{DED8CB76-E472-49BA-AE94-CE5A026CDCAC}" srcId="{379AA258-C83C-4C40-B648-F1B5C422E6F7}" destId="{B916FD7A-B423-4376-84B7-3265ED6FD5BF}" srcOrd="3" destOrd="0" parTransId="{7170C106-CE91-46A9-850E-8DDC2AF5957B}" sibTransId="{E66F8FB4-883C-4EB4-BFCC-5370F8D8CAD4}"/>
    <dgm:cxn modelId="{2FFD0853-D4E9-4A72-8AAD-B3E5E8CDB7A2}" srcId="{D2600128-8DB6-4F50-B3F5-5670A26372E4}" destId="{B6838545-F00D-4FD0-8017-4A0809BDF7D7}" srcOrd="0" destOrd="0" parTransId="{6EAE872E-F982-41F7-B744-D063F26845DD}" sibTransId="{6F4175F2-47A2-4669-8E9C-4239FEBF35B6}"/>
    <dgm:cxn modelId="{7D4DDCF8-11D2-4BEA-925D-9A72F32034F5}" srcId="{C413BBBF-380C-4CEC-A8CF-B2FCC037CFC8}" destId="{BE58B731-9817-4AE6-84CF-55E900EFDC79}" srcOrd="1" destOrd="0" parTransId="{5117B687-96FA-46C1-B868-E0E734F3B4AF}" sibTransId="{687872C5-5450-4DEE-9BFB-195A896745A2}"/>
    <dgm:cxn modelId="{3D0960C5-1BA5-4634-B1D3-96A56CD8BA82}" type="presOf" srcId="{D2600128-8DB6-4F50-B3F5-5670A26372E4}" destId="{A3A658F6-405E-470F-9602-3657DFB1C7FB}" srcOrd="0" destOrd="0" presId="urn:microsoft.com/office/officeart/2005/8/layout/vList5"/>
    <dgm:cxn modelId="{4FC06C4F-2A75-4DD5-94A7-370329192373}" type="presOf" srcId="{904F4153-2776-4143-A13E-5BE4B6701D2D}" destId="{2A7B84D9-4D05-4993-8FEA-F0CDF0FE921E}" srcOrd="0" destOrd="0" presId="urn:microsoft.com/office/officeart/2005/8/layout/vList5"/>
    <dgm:cxn modelId="{11C7F687-7168-431B-BB89-4DF5D04A6F24}" srcId="{379AA258-C83C-4C40-B648-F1B5C422E6F7}" destId="{D2600128-8DB6-4F50-B3F5-5670A26372E4}" srcOrd="4" destOrd="0" parTransId="{8FF68D11-238A-41A8-B24A-1771A23F6CF4}" sibTransId="{D5F72E02-6938-47C1-B0FD-048003056EF6}"/>
    <dgm:cxn modelId="{57EB3479-EE09-4B0A-B76F-5197992B3411}" type="presOf" srcId="{0151E542-0B91-4ED2-B94F-84B30E3B39FE}" destId="{E8027EA7-242A-47DE-819A-B76961048A94}" srcOrd="0" destOrd="1" presId="urn:microsoft.com/office/officeart/2005/8/layout/vList5"/>
    <dgm:cxn modelId="{3273E72C-6B56-4432-BEFF-59FF7088333F}" srcId="{379AA258-C83C-4C40-B648-F1B5C422E6F7}" destId="{8D40095C-50B9-4E9A-BCAC-37C1003A474D}" srcOrd="5" destOrd="0" parTransId="{E10A2872-41CB-4B6A-BA9E-DF024592A992}" sibTransId="{63469500-0F86-4608-81F3-44F08A801745}"/>
    <dgm:cxn modelId="{93A4814E-35CB-4633-ABBB-134DD8E61D4C}" srcId="{8D40095C-50B9-4E9A-BCAC-37C1003A474D}" destId="{22B1539B-3E3B-49D7-B1F7-BAFD81D59017}" srcOrd="1" destOrd="0" parTransId="{9CC85EB8-D2FB-4666-8F56-088D8A29B5BD}" sibTransId="{B93901D5-97DC-4BF8-89A8-E9392F81A59F}"/>
    <dgm:cxn modelId="{51224468-4745-4B0F-9937-4B4DCBD30278}" type="presOf" srcId="{C413BBBF-380C-4CEC-A8CF-B2FCC037CFC8}" destId="{20D97318-B57A-4656-9726-C99C8944366C}" srcOrd="0" destOrd="0" presId="urn:microsoft.com/office/officeart/2005/8/layout/vList5"/>
    <dgm:cxn modelId="{6B2EB36A-7AAD-4143-9D78-9C682F42A1F7}" type="presOf" srcId="{22B1539B-3E3B-49D7-B1F7-BAFD81D59017}" destId="{C801C423-AB10-4EDA-98B7-FB811A8913C6}" srcOrd="0" destOrd="1" presId="urn:microsoft.com/office/officeart/2005/8/layout/vList5"/>
    <dgm:cxn modelId="{A75C5F23-BDA9-4B43-9EE1-6483AF91CD7C}" type="presOf" srcId="{440E22D3-D065-41E6-888A-BC845BCE18BF}" destId="{4CFA480F-4DF8-4FAD-839E-F92CAD216378}" srcOrd="0" destOrd="0" presId="urn:microsoft.com/office/officeart/2005/8/layout/vList5"/>
    <dgm:cxn modelId="{58A30E07-B346-4A82-94D0-BC05F648ACC3}" type="presOf" srcId="{03348488-4ED1-451A-893C-0333495C9DFD}" destId="{2A7B84D9-4D05-4993-8FEA-F0CDF0FE921E}" srcOrd="0" destOrd="1" presId="urn:microsoft.com/office/officeart/2005/8/layout/vList5"/>
    <dgm:cxn modelId="{90135DBB-4626-483C-8832-B9D1F83A62BD}" type="presOf" srcId="{2D7E3EE9-7437-4C20-93D4-7A6FEC1AAACE}" destId="{EAB8D254-8FE6-475C-B881-D2E6256A90C8}" srcOrd="0" destOrd="0" presId="urn:microsoft.com/office/officeart/2005/8/layout/vList5"/>
    <dgm:cxn modelId="{FB921876-ECC7-4A01-A2F4-3A56751FDD78}" srcId="{B916FD7A-B423-4376-84B7-3265ED6FD5BF}" destId="{E46C53BE-3A93-44E6-97A3-DE947C4F97F5}" srcOrd="0" destOrd="0" parTransId="{A9256A0F-7D46-4B2E-AD71-E2B78111BD8C}" sibTransId="{98B21EBA-D9D2-4895-9FD2-CEEB0B6A4399}"/>
    <dgm:cxn modelId="{F63D46FC-39FE-4938-A4FD-0ADD3F6BE9C6}" type="presOf" srcId="{E46C53BE-3A93-44E6-97A3-DE947C4F97F5}" destId="{BFC569A1-F95A-4F93-8757-99CFECB1D562}" srcOrd="0" destOrd="0" presId="urn:microsoft.com/office/officeart/2005/8/layout/vList5"/>
    <dgm:cxn modelId="{8D3D01DF-DAFB-4B54-9304-663B3B31A10D}" type="presOf" srcId="{AFA4DE56-0406-451B-A64A-A65D7BC489D0}" destId="{C801C423-AB10-4EDA-98B7-FB811A8913C6}" srcOrd="0" destOrd="0" presId="urn:microsoft.com/office/officeart/2005/8/layout/vList5"/>
    <dgm:cxn modelId="{D3B35098-0DA1-44E6-B6E0-FB3884211031}" srcId="{2D7E3EE9-7437-4C20-93D4-7A6FEC1AAACE}" destId="{0151E542-0B91-4ED2-B94F-84B30E3B39FE}" srcOrd="1" destOrd="0" parTransId="{8477000F-AA98-4788-96A6-A0DC9A94A796}" sibTransId="{E46350BE-3408-4F47-A4E0-7EB16D52D2F0}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4EADEB11-875A-4B04-92D1-3264E04045F5}" type="presOf" srcId="{B916FD7A-B423-4376-84B7-3265ED6FD5BF}" destId="{71F82583-B10E-4E77-8BC2-03A246261B65}" srcOrd="0" destOrd="0" presId="urn:microsoft.com/office/officeart/2005/8/layout/vList5"/>
    <dgm:cxn modelId="{5657878A-40BC-4621-A8FB-DCDAC9581F4F}" type="presOf" srcId="{AC41FF3A-7FC1-4325-8E72-33B500F2E48F}" destId="{14EE1C8A-D50A-43DC-8770-259105F406F4}" srcOrd="0" destOrd="1" presId="urn:microsoft.com/office/officeart/2005/8/layout/vList5"/>
    <dgm:cxn modelId="{7188A2FC-B0FB-4ABB-953D-4AEF495D4763}" srcId="{379AA258-C83C-4C40-B648-F1B5C422E6F7}" destId="{2D7E3EE9-7437-4C20-93D4-7A6FEC1AAACE}" srcOrd="2" destOrd="0" parTransId="{5034E569-6F5A-4F9C-B301-01B16FC4BA6F}" sibTransId="{5F8B28FA-2EAB-4322-AA7E-30525F5A9B78}"/>
    <dgm:cxn modelId="{273C2E6A-92E0-4EA3-A855-0B38D80F8F19}" type="presOf" srcId="{8D40095C-50B9-4E9A-BCAC-37C1003A474D}" destId="{9C1F07CD-EDD1-4AD8-B505-845FC24081BD}" srcOrd="0" destOrd="0" presId="urn:microsoft.com/office/officeart/2005/8/layout/vList5"/>
    <dgm:cxn modelId="{1D66994E-1217-4BF6-915F-78080F1F302E}" srcId="{379AA258-C83C-4C40-B648-F1B5C422E6F7}" destId="{C413BBBF-380C-4CEC-A8CF-B2FCC037CFC8}" srcOrd="1" destOrd="0" parTransId="{FE7B5542-196E-42B9-A14C-52859CC6E320}" sibTransId="{76907F42-89C2-4EA8-876B-54F448BB1999}"/>
    <dgm:cxn modelId="{0A867E74-0E9E-4CED-B45C-B2538542F0A2}" type="presOf" srcId="{956BC3B7-828B-4E06-AA2A-E88150E0A84F}" destId="{E8027EA7-242A-47DE-819A-B76961048A94}" srcOrd="0" destOrd="0" presId="urn:microsoft.com/office/officeart/2005/8/layout/vList5"/>
    <dgm:cxn modelId="{633760F8-AF7E-4A0A-8742-FDC1087B5FC9}" type="presOf" srcId="{379AA258-C83C-4C40-B648-F1B5C422E6F7}" destId="{847B70ED-EC22-4392-86F8-73C9FB5CA08C}" srcOrd="0" destOrd="0" presId="urn:microsoft.com/office/officeart/2005/8/layout/vList5"/>
    <dgm:cxn modelId="{B8CF78E0-3A78-4FC5-A5B1-8D1762FE1035}" type="presOf" srcId="{B6838545-F00D-4FD0-8017-4A0809BDF7D7}" destId="{14EE1C8A-D50A-43DC-8770-259105F406F4}" srcOrd="0" destOrd="0" presId="urn:microsoft.com/office/officeart/2005/8/layout/vList5"/>
    <dgm:cxn modelId="{3CE11ABB-47E2-4A47-8D46-9EEE5243C62F}" srcId="{C413BBBF-380C-4CEC-A8CF-B2FCC037CFC8}" destId="{440E22D3-D065-41E6-888A-BC845BCE18BF}" srcOrd="0" destOrd="0" parTransId="{F1457B74-7DD4-438D-AECA-4B3E3B446803}" sibTransId="{6F5C4763-E7E3-4070-9641-E4C29F4A8111}"/>
    <dgm:cxn modelId="{5BED1BE4-4511-48D8-B343-860778F186BD}" srcId="{8D40095C-50B9-4E9A-BCAC-37C1003A474D}" destId="{AFA4DE56-0406-451B-A64A-A65D7BC489D0}" srcOrd="0" destOrd="0" parTransId="{437FAF5A-E924-4CEC-B61E-50DE987C020C}" sibTransId="{147D2027-2A49-46D9-AA7B-D9CC05C00B22}"/>
    <dgm:cxn modelId="{BC4A1BCC-E8D2-48A5-A919-2C71777F15CC}" type="presOf" srcId="{AA242DEA-79C5-449E-8309-C3AD15B892FA}" destId="{01BD75F8-34C1-4140-B003-CDB8697EC544}" srcOrd="0" destOrd="0" presId="urn:microsoft.com/office/officeart/2005/8/layout/vList5"/>
    <dgm:cxn modelId="{E1AA964E-3B54-4A47-B343-D8FD0ADD22BF}" srcId="{AA242DEA-79C5-449E-8309-C3AD15B892FA}" destId="{904F4153-2776-4143-A13E-5BE4B6701D2D}" srcOrd="0" destOrd="0" parTransId="{39A9161E-42BE-4ADB-9895-D38552ABB1FD}" sibTransId="{ACE74B2E-20BE-4BC1-BAD9-25179AEE04C9}"/>
    <dgm:cxn modelId="{97FDD0CF-4562-4B82-A65D-41CB3E503090}" srcId="{D2600128-8DB6-4F50-B3F5-5670A26372E4}" destId="{AC41FF3A-7FC1-4325-8E72-33B500F2E48F}" srcOrd="1" destOrd="0" parTransId="{0C6748EB-CD66-43E9-AA71-3A711CD97CB5}" sibTransId="{5528B052-F1F3-44D6-BC67-8CCFEA208AE4}"/>
    <dgm:cxn modelId="{9A057975-8262-4F76-AC33-41C78447C42B}" type="presOf" srcId="{BE58B731-9817-4AE6-84CF-55E900EFDC79}" destId="{4CFA480F-4DF8-4FAD-839E-F92CAD216378}" srcOrd="0" destOrd="1" presId="urn:microsoft.com/office/officeart/2005/8/layout/vList5"/>
    <dgm:cxn modelId="{1BCBD8FE-85DB-49C4-805C-3F95023F5135}" type="presParOf" srcId="{847B70ED-EC22-4392-86F8-73C9FB5CA08C}" destId="{D4C3490E-3E29-45E2-B15C-B97B51CDF84E}" srcOrd="0" destOrd="0" presId="urn:microsoft.com/office/officeart/2005/8/layout/vList5"/>
    <dgm:cxn modelId="{AE8944A8-2A68-4BF9-812E-02A6994C7505}" type="presParOf" srcId="{D4C3490E-3E29-45E2-B15C-B97B51CDF84E}" destId="{01BD75F8-34C1-4140-B003-CDB8697EC544}" srcOrd="0" destOrd="0" presId="urn:microsoft.com/office/officeart/2005/8/layout/vList5"/>
    <dgm:cxn modelId="{181EC0A5-D118-4823-9E73-E160488AF7EE}" type="presParOf" srcId="{D4C3490E-3E29-45E2-B15C-B97B51CDF84E}" destId="{2A7B84D9-4D05-4993-8FEA-F0CDF0FE921E}" srcOrd="1" destOrd="0" presId="urn:microsoft.com/office/officeart/2005/8/layout/vList5"/>
    <dgm:cxn modelId="{5B1E428E-F668-411E-B2EB-51DF5F9646C5}" type="presParOf" srcId="{847B70ED-EC22-4392-86F8-73C9FB5CA08C}" destId="{736E444F-C763-4CC3-B77B-A2BE0FAEB1D4}" srcOrd="1" destOrd="0" presId="urn:microsoft.com/office/officeart/2005/8/layout/vList5"/>
    <dgm:cxn modelId="{C2EBC0F3-EA96-4CAC-A9DB-184D7F84CD7A}" type="presParOf" srcId="{847B70ED-EC22-4392-86F8-73C9FB5CA08C}" destId="{ECF6CA2C-2BBC-4AAB-9CBA-2A4CC201FAA2}" srcOrd="2" destOrd="0" presId="urn:microsoft.com/office/officeart/2005/8/layout/vList5"/>
    <dgm:cxn modelId="{8E9F67A3-36BD-415A-8DE0-1C768BAE43D2}" type="presParOf" srcId="{ECF6CA2C-2BBC-4AAB-9CBA-2A4CC201FAA2}" destId="{20D97318-B57A-4656-9726-C99C8944366C}" srcOrd="0" destOrd="0" presId="urn:microsoft.com/office/officeart/2005/8/layout/vList5"/>
    <dgm:cxn modelId="{C32DF7B6-FB24-4183-9147-120F5C3ACDCE}" type="presParOf" srcId="{ECF6CA2C-2BBC-4AAB-9CBA-2A4CC201FAA2}" destId="{4CFA480F-4DF8-4FAD-839E-F92CAD216378}" srcOrd="1" destOrd="0" presId="urn:microsoft.com/office/officeart/2005/8/layout/vList5"/>
    <dgm:cxn modelId="{25C5400C-0BE7-4C44-8CD7-7F5F1AFBDEBE}" type="presParOf" srcId="{847B70ED-EC22-4392-86F8-73C9FB5CA08C}" destId="{39460369-7986-45F6-8DB9-8199D7A81E79}" srcOrd="3" destOrd="0" presId="urn:microsoft.com/office/officeart/2005/8/layout/vList5"/>
    <dgm:cxn modelId="{A09298E0-B5FA-47CF-855C-DE80F8CE8981}" type="presParOf" srcId="{847B70ED-EC22-4392-86F8-73C9FB5CA08C}" destId="{3675A36C-53C5-4F49-B5FA-6DA429064C2A}" srcOrd="4" destOrd="0" presId="urn:microsoft.com/office/officeart/2005/8/layout/vList5"/>
    <dgm:cxn modelId="{25577F4D-45C9-4093-B475-AA094B45901B}" type="presParOf" srcId="{3675A36C-53C5-4F49-B5FA-6DA429064C2A}" destId="{EAB8D254-8FE6-475C-B881-D2E6256A90C8}" srcOrd="0" destOrd="0" presId="urn:microsoft.com/office/officeart/2005/8/layout/vList5"/>
    <dgm:cxn modelId="{9B2FB30B-BC0D-44C3-A7C0-B226112F7D55}" type="presParOf" srcId="{3675A36C-53C5-4F49-B5FA-6DA429064C2A}" destId="{E8027EA7-242A-47DE-819A-B76961048A94}" srcOrd="1" destOrd="0" presId="urn:microsoft.com/office/officeart/2005/8/layout/vList5"/>
    <dgm:cxn modelId="{630246FA-D315-46F3-A44F-EC6C300259F5}" type="presParOf" srcId="{847B70ED-EC22-4392-86F8-73C9FB5CA08C}" destId="{9BE0EA74-7B86-4EDA-A8D0-65AB6A6D1264}" srcOrd="5" destOrd="0" presId="urn:microsoft.com/office/officeart/2005/8/layout/vList5"/>
    <dgm:cxn modelId="{AA1BFD7F-88AD-4AE4-A19D-A797F290F8D2}" type="presParOf" srcId="{847B70ED-EC22-4392-86F8-73C9FB5CA08C}" destId="{049BFA19-5BA5-470A-AECC-4F39BF714F21}" srcOrd="6" destOrd="0" presId="urn:microsoft.com/office/officeart/2005/8/layout/vList5"/>
    <dgm:cxn modelId="{0718E6EE-AB49-4BB1-860F-9B1A93D8BBDF}" type="presParOf" srcId="{049BFA19-5BA5-470A-AECC-4F39BF714F21}" destId="{71F82583-B10E-4E77-8BC2-03A246261B65}" srcOrd="0" destOrd="0" presId="urn:microsoft.com/office/officeart/2005/8/layout/vList5"/>
    <dgm:cxn modelId="{A2A88156-4276-4EFA-8206-C02ADF2D1C3D}" type="presParOf" srcId="{049BFA19-5BA5-470A-AECC-4F39BF714F21}" destId="{BFC569A1-F95A-4F93-8757-99CFECB1D562}" srcOrd="1" destOrd="0" presId="urn:microsoft.com/office/officeart/2005/8/layout/vList5"/>
    <dgm:cxn modelId="{7E8D3BF6-9C0E-43FB-80F3-5A1F07BA5ACC}" type="presParOf" srcId="{847B70ED-EC22-4392-86F8-73C9FB5CA08C}" destId="{36EEA0FA-0C79-458E-83DF-E15677B2B9C1}" srcOrd="7" destOrd="0" presId="urn:microsoft.com/office/officeart/2005/8/layout/vList5"/>
    <dgm:cxn modelId="{813DE6E8-60B7-481C-845A-A69B6DF239F0}" type="presParOf" srcId="{847B70ED-EC22-4392-86F8-73C9FB5CA08C}" destId="{98A11246-B3CF-4AD9-AB82-E9522B0116B0}" srcOrd="8" destOrd="0" presId="urn:microsoft.com/office/officeart/2005/8/layout/vList5"/>
    <dgm:cxn modelId="{035A4E0B-012E-4986-A3FA-40C8F41A3918}" type="presParOf" srcId="{98A11246-B3CF-4AD9-AB82-E9522B0116B0}" destId="{A3A658F6-405E-470F-9602-3657DFB1C7FB}" srcOrd="0" destOrd="0" presId="urn:microsoft.com/office/officeart/2005/8/layout/vList5"/>
    <dgm:cxn modelId="{E12A9B24-015F-4C5F-B16C-6698C71796AB}" type="presParOf" srcId="{98A11246-B3CF-4AD9-AB82-E9522B0116B0}" destId="{14EE1C8A-D50A-43DC-8770-259105F406F4}" srcOrd="1" destOrd="0" presId="urn:microsoft.com/office/officeart/2005/8/layout/vList5"/>
    <dgm:cxn modelId="{5D566C1D-4C36-41CB-8C3E-76EBAEAA7A57}" type="presParOf" srcId="{847B70ED-EC22-4392-86F8-73C9FB5CA08C}" destId="{7422F20F-C21E-4959-AE5C-36FB722E61C4}" srcOrd="9" destOrd="0" presId="urn:microsoft.com/office/officeart/2005/8/layout/vList5"/>
    <dgm:cxn modelId="{09180DC5-D44C-4FB9-8CB6-4937EAD144BB}" type="presParOf" srcId="{847B70ED-EC22-4392-86F8-73C9FB5CA08C}" destId="{CE5F7D6F-C0BD-4C16-BB7D-9B3BF25D3B30}" srcOrd="10" destOrd="0" presId="urn:microsoft.com/office/officeart/2005/8/layout/vList5"/>
    <dgm:cxn modelId="{829788F5-0FA6-4428-A5FD-6DA4813DF65A}" type="presParOf" srcId="{CE5F7D6F-C0BD-4C16-BB7D-9B3BF25D3B30}" destId="{9C1F07CD-EDD1-4AD8-B505-845FC24081BD}" srcOrd="0" destOrd="0" presId="urn:microsoft.com/office/officeart/2005/8/layout/vList5"/>
    <dgm:cxn modelId="{4193947F-073A-46D7-AD94-397E64F7F6EA}" type="presParOf" srcId="{CE5F7D6F-C0BD-4C16-BB7D-9B3BF25D3B30}" destId="{C801C423-AB10-4EDA-98B7-FB811A8913C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600" b="0" i="0" dirty="0" smtClean="0">
              <a:latin typeface="+mj-lt"/>
            </a:rPr>
            <a:t>User </a:t>
          </a:r>
          <a:r>
            <a:rPr lang="en-US" sz="1600" b="0" i="0" dirty="0" smtClean="0">
              <a:latin typeface="+mn-lt"/>
            </a:rPr>
            <a:t>Experience</a:t>
          </a:r>
          <a:endParaRPr lang="en-US" sz="1600" b="0" i="0" dirty="0">
            <a:latin typeface="+mn-lt"/>
          </a:endParaRP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904F4153-2776-4143-A13E-5BE4B6701D2D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Consistent optimized client experience across client channels</a:t>
          </a:r>
          <a:endParaRPr lang="en-US" sz="1400" i="1" dirty="0">
            <a:latin typeface="+mn-lt"/>
          </a:endParaRPr>
        </a:p>
      </dgm:t>
    </dgm:pt>
    <dgm:pt modelId="{39A9161E-42BE-4ADB-9895-D38552ABB1FD}" type="parTrans" cxnId="{E1AA964E-3B54-4A47-B343-D8FD0ADD22BF}">
      <dgm:prSet/>
      <dgm:spPr/>
      <dgm:t>
        <a:bodyPr/>
        <a:lstStyle/>
        <a:p>
          <a:endParaRPr lang="en-US"/>
        </a:p>
      </dgm:t>
    </dgm:pt>
    <dgm:pt modelId="{ACE74B2E-20BE-4BC1-BAD9-25179AEE04C9}" type="sibTrans" cxnId="{E1AA964E-3B54-4A47-B343-D8FD0ADD22BF}">
      <dgm:prSet/>
      <dgm:spPr/>
      <dgm:t>
        <a:bodyPr/>
        <a:lstStyle/>
        <a:p>
          <a:endParaRPr lang="en-US"/>
        </a:p>
      </dgm:t>
    </dgm:pt>
    <dgm:pt modelId="{C413BBBF-380C-4CEC-A8CF-B2FCC037CFC8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Infrastructure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Cost</a:t>
          </a:r>
        </a:p>
      </dgm:t>
    </dgm:pt>
    <dgm:pt modelId="{FE7B5542-196E-42B9-A14C-52859CC6E320}" type="parTrans" cxnId="{1D66994E-1217-4BF6-915F-78080F1F302E}">
      <dgm:prSet/>
      <dgm:spPr/>
      <dgm:t>
        <a:bodyPr/>
        <a:lstStyle/>
        <a:p>
          <a:endParaRPr lang="en-US"/>
        </a:p>
      </dgm:t>
    </dgm:pt>
    <dgm:pt modelId="{76907F42-89C2-4EA8-876B-54F448BB1999}" type="sibTrans" cxnId="{1D66994E-1217-4BF6-915F-78080F1F302E}">
      <dgm:prSet/>
      <dgm:spPr/>
      <dgm:t>
        <a:bodyPr/>
        <a:lstStyle/>
        <a:p>
          <a:endParaRPr lang="en-US"/>
        </a:p>
      </dgm:t>
    </dgm:pt>
    <dgm:pt modelId="{440E22D3-D065-41E6-888A-BC845BCE18BF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Opportunity to leverage FOSS (Free Open Source Software)</a:t>
          </a:r>
        </a:p>
      </dgm:t>
    </dgm:pt>
    <dgm:pt modelId="{F1457B74-7DD4-438D-AECA-4B3E3B446803}" type="parTrans" cxnId="{3CE11ABB-47E2-4A47-8D46-9EEE5243C62F}">
      <dgm:prSet/>
      <dgm:spPr/>
      <dgm:t>
        <a:bodyPr/>
        <a:lstStyle/>
        <a:p>
          <a:endParaRPr lang="en-US"/>
        </a:p>
      </dgm:t>
    </dgm:pt>
    <dgm:pt modelId="{6F5C4763-E7E3-4070-9641-E4C29F4A8111}" type="sibTrans" cxnId="{3CE11ABB-47E2-4A47-8D46-9EEE5243C62F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dirty="0" smtClean="0"/>
            <a:t>Support &amp;</a:t>
          </a:r>
        </a:p>
        <a:p>
          <a:pPr>
            <a:spcAft>
              <a:spcPts val="0"/>
            </a:spcAft>
          </a:pPr>
          <a:r>
            <a:rPr lang="en-US" sz="1600" b="0" dirty="0" smtClean="0"/>
            <a:t>Maintenance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Available skilled resource pool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0151E542-0B91-4ED2-B94F-84B30E3B39FE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Easy to maintain and enhance micro components/services</a:t>
          </a:r>
        </a:p>
      </dgm:t>
    </dgm:pt>
    <dgm:pt modelId="{8477000F-AA98-4788-96A6-A0DC9A94A796}" type="parTrans" cxnId="{D3B35098-0DA1-44E6-B6E0-FB3884211031}">
      <dgm:prSet/>
      <dgm:spPr/>
      <dgm:t>
        <a:bodyPr/>
        <a:lstStyle/>
        <a:p>
          <a:endParaRPr lang="en-US"/>
        </a:p>
      </dgm:t>
    </dgm:pt>
    <dgm:pt modelId="{E46350BE-3408-4F47-A4E0-7EB16D52D2F0}" type="sibTrans" cxnId="{D3B35098-0DA1-44E6-B6E0-FB3884211031}">
      <dgm:prSet/>
      <dgm:spPr/>
      <dgm:t>
        <a:bodyPr/>
        <a:lstStyle/>
        <a:p>
          <a:endParaRPr lang="en-US"/>
        </a:p>
      </dgm:t>
    </dgm:pt>
    <dgm:pt modelId="{B916FD7A-B423-4376-84B7-3265ED6FD5BF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dirty="0" smtClean="0"/>
            <a:t>Enterprise</a:t>
          </a:r>
        </a:p>
        <a:p>
          <a:pPr>
            <a:spcAft>
              <a:spcPts val="0"/>
            </a:spcAft>
          </a:pPr>
          <a:r>
            <a:rPr lang="en-US" sz="1600" b="0" dirty="0" smtClean="0"/>
            <a:t>Integration</a:t>
          </a:r>
          <a:endParaRPr lang="en-US" sz="1600" b="0" dirty="0"/>
        </a:p>
      </dgm:t>
    </dgm:pt>
    <dgm:pt modelId="{7170C106-CE91-46A9-850E-8DDC2AF5957B}" type="parTrans" cxnId="{DED8CB76-E472-49BA-AE94-CE5A026CDCAC}">
      <dgm:prSet/>
      <dgm:spPr/>
      <dgm:t>
        <a:bodyPr/>
        <a:lstStyle/>
        <a:p>
          <a:endParaRPr lang="en-US"/>
        </a:p>
      </dgm:t>
    </dgm:pt>
    <dgm:pt modelId="{E66F8FB4-883C-4EB4-BFCC-5370F8D8CAD4}" type="sibTrans" cxnId="{DED8CB76-E472-49BA-AE94-CE5A026CDCAC}">
      <dgm:prSet/>
      <dgm:spPr/>
      <dgm:t>
        <a:bodyPr/>
        <a:lstStyle/>
        <a:p>
          <a:endParaRPr lang="en-US"/>
        </a:p>
      </dgm:t>
    </dgm:pt>
    <dgm:pt modelId="{E46C53BE-3A93-44E6-97A3-DE947C4F97F5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Friction free integration with the existing systems and Services</a:t>
          </a:r>
        </a:p>
      </dgm:t>
    </dgm:pt>
    <dgm:pt modelId="{A9256A0F-7D46-4B2E-AD71-E2B78111BD8C}" type="parTrans" cxnId="{FB921876-ECC7-4A01-A2F4-3A56751FDD78}">
      <dgm:prSet/>
      <dgm:spPr/>
      <dgm:t>
        <a:bodyPr/>
        <a:lstStyle/>
        <a:p>
          <a:endParaRPr lang="en-US"/>
        </a:p>
      </dgm:t>
    </dgm:pt>
    <dgm:pt modelId="{98B21EBA-D9D2-4895-9FD2-CEEB0B6A4399}" type="sibTrans" cxnId="{FB921876-ECC7-4A01-A2F4-3A56751FDD78}">
      <dgm:prSet/>
      <dgm:spPr/>
      <dgm:t>
        <a:bodyPr/>
        <a:lstStyle/>
        <a:p>
          <a:endParaRPr lang="en-US"/>
        </a:p>
      </dgm:t>
    </dgm:pt>
    <dgm:pt modelId="{24C31050-AEAD-43E4-8251-CF0057D230AB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“One Portal” user experience capability</a:t>
          </a:r>
          <a:endParaRPr lang="en-US" sz="1400" i="1" dirty="0">
            <a:latin typeface="+mn-lt"/>
          </a:endParaRPr>
        </a:p>
      </dgm:t>
    </dgm:pt>
    <dgm:pt modelId="{69F84045-39E0-4208-BD50-6DD19D634342}" type="parTrans" cxnId="{7DC19D84-6907-4EFA-9A06-29D16F97568D}">
      <dgm:prSet/>
      <dgm:spPr/>
      <dgm:t>
        <a:bodyPr/>
        <a:lstStyle/>
        <a:p>
          <a:endParaRPr lang="en-US"/>
        </a:p>
      </dgm:t>
    </dgm:pt>
    <dgm:pt modelId="{1AC8455F-2424-410A-8424-7E54AA00A248}" type="sibTrans" cxnId="{7DC19D84-6907-4EFA-9A06-29D16F97568D}">
      <dgm:prSet/>
      <dgm:spPr/>
      <dgm:t>
        <a:bodyPr/>
        <a:lstStyle/>
        <a:p>
          <a:endParaRPr lang="en-US"/>
        </a:p>
      </dgm:t>
    </dgm:pt>
    <dgm:pt modelId="{667E79EB-5A23-4F1C-A142-75E6E94D7655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Inexpensive modern hardware compared to IBM AS/400 iSeries</a:t>
          </a:r>
        </a:p>
      </dgm:t>
    </dgm:pt>
    <dgm:pt modelId="{0817065E-D833-42B1-9952-78204BF72F71}" type="parTrans" cxnId="{B5A6BE3E-011C-4D83-9D78-A559380196BB}">
      <dgm:prSet/>
      <dgm:spPr/>
      <dgm:t>
        <a:bodyPr/>
        <a:lstStyle/>
        <a:p>
          <a:endParaRPr lang="en-US"/>
        </a:p>
      </dgm:t>
    </dgm:pt>
    <dgm:pt modelId="{EB264106-E288-4D66-ACCC-E6FB295AE52B}" type="sibTrans" cxnId="{B5A6BE3E-011C-4D83-9D78-A559380196BB}">
      <dgm:prSet/>
      <dgm:spPr/>
      <dgm:t>
        <a:bodyPr/>
        <a:lstStyle/>
        <a:p>
          <a:endParaRPr lang="en-US"/>
        </a:p>
      </dgm:t>
    </dgm:pt>
    <dgm:pt modelId="{496E1925-9EB4-44A9-87EB-74AA94A8BD82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Capability to leverage enterprise core platforms – BPM, CRM , CEP , Analytics</a:t>
          </a:r>
        </a:p>
      </dgm:t>
    </dgm:pt>
    <dgm:pt modelId="{C73640C4-907A-4544-8101-27B31A8FFEBB}" type="parTrans" cxnId="{7CA1C3CF-749D-4BFB-8574-60AB356E822F}">
      <dgm:prSet/>
      <dgm:spPr/>
      <dgm:t>
        <a:bodyPr/>
        <a:lstStyle/>
        <a:p>
          <a:endParaRPr lang="en-US"/>
        </a:p>
      </dgm:t>
    </dgm:pt>
    <dgm:pt modelId="{C638A96C-7695-42D1-977F-2C44D8A097D2}" type="sibTrans" cxnId="{7CA1C3CF-749D-4BFB-8574-60AB356E822F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4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4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ECF6CA2C-2BBC-4AAB-9CBA-2A4CC201FAA2}" type="pres">
      <dgm:prSet presAssocID="{C413BBBF-380C-4CEC-A8CF-B2FCC037CFC8}" presName="linNode" presStyleCnt="0"/>
      <dgm:spPr/>
    </dgm:pt>
    <dgm:pt modelId="{20D97318-B57A-4656-9726-C99C8944366C}" type="pres">
      <dgm:prSet presAssocID="{C413BBBF-380C-4CEC-A8CF-B2FCC037CFC8}" presName="parentText" presStyleLbl="node1" presStyleIdx="1" presStyleCnt="4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FA480F-4DF8-4FAD-839E-F92CAD216378}" type="pres">
      <dgm:prSet presAssocID="{C413BBBF-380C-4CEC-A8CF-B2FCC037CFC8}" presName="descendantText" presStyleLbl="alignAccFollowNode1" presStyleIdx="1" presStyleCnt="4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460369-7986-45F6-8DB9-8199D7A81E79}" type="pres">
      <dgm:prSet presAssocID="{76907F42-89C2-4EA8-876B-54F448BB1999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2" presStyleCnt="4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2" presStyleCnt="4" custScaleX="116303" custLinFactNeighborX="-3400" custLinFactNeighborY="-35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E0EA74-7B86-4EDA-A8D0-65AB6A6D1264}" type="pres">
      <dgm:prSet presAssocID="{5F8B28FA-2EAB-4322-AA7E-30525F5A9B78}" presName="sp" presStyleCnt="0"/>
      <dgm:spPr/>
    </dgm:pt>
    <dgm:pt modelId="{049BFA19-5BA5-470A-AECC-4F39BF714F21}" type="pres">
      <dgm:prSet presAssocID="{B916FD7A-B423-4376-84B7-3265ED6FD5BF}" presName="linNode" presStyleCnt="0"/>
      <dgm:spPr/>
    </dgm:pt>
    <dgm:pt modelId="{71F82583-B10E-4E77-8BC2-03A246261B65}" type="pres">
      <dgm:prSet presAssocID="{B916FD7A-B423-4376-84B7-3265ED6FD5BF}" presName="parentText" presStyleLbl="node1" presStyleIdx="3" presStyleCnt="4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C569A1-F95A-4F93-8757-99CFECB1D562}" type="pres">
      <dgm:prSet presAssocID="{B916FD7A-B423-4376-84B7-3265ED6FD5BF}" presName="descendantText" presStyleLbl="alignAccFollowNode1" presStyleIdx="3" presStyleCnt="4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1BD5009-5E53-49CF-906F-D7A7CEE8FF37}" type="presOf" srcId="{E46C53BE-3A93-44E6-97A3-DE947C4F97F5}" destId="{BFC569A1-F95A-4F93-8757-99CFECB1D562}" srcOrd="0" destOrd="0" presId="urn:microsoft.com/office/officeart/2005/8/layout/vList5"/>
    <dgm:cxn modelId="{552EC59F-70F0-4147-947B-A8929823DA4A}" type="presOf" srcId="{956BC3B7-828B-4E06-AA2A-E88150E0A84F}" destId="{E8027EA7-242A-47DE-819A-B76961048A94}" srcOrd="0" destOrd="0" presId="urn:microsoft.com/office/officeart/2005/8/layout/vList5"/>
    <dgm:cxn modelId="{754A61E9-11F6-4068-9526-8AFE70B81ADE}" type="presOf" srcId="{379AA258-C83C-4C40-B648-F1B5C422E6F7}" destId="{847B70ED-EC22-4392-86F8-73C9FB5CA08C}" srcOrd="0" destOrd="0" presId="urn:microsoft.com/office/officeart/2005/8/layout/vList5"/>
    <dgm:cxn modelId="{DED8CB76-E472-49BA-AE94-CE5A026CDCAC}" srcId="{379AA258-C83C-4C40-B648-F1B5C422E6F7}" destId="{B916FD7A-B423-4376-84B7-3265ED6FD5BF}" srcOrd="3" destOrd="0" parTransId="{7170C106-CE91-46A9-850E-8DDC2AF5957B}" sibTransId="{E66F8FB4-883C-4EB4-BFCC-5370F8D8CAD4}"/>
    <dgm:cxn modelId="{731B93FF-6B1F-44E2-9D53-2F27C528EFD0}" type="presOf" srcId="{24C31050-AEAD-43E4-8251-CF0057D230AB}" destId="{2A7B84D9-4D05-4993-8FEA-F0CDF0FE921E}" srcOrd="0" destOrd="1" presId="urn:microsoft.com/office/officeart/2005/8/layout/vList5"/>
    <dgm:cxn modelId="{D3B35098-0DA1-44E6-B6E0-FB3884211031}" srcId="{2D7E3EE9-7437-4C20-93D4-7A6FEC1AAACE}" destId="{0151E542-0B91-4ED2-B94F-84B30E3B39FE}" srcOrd="1" destOrd="0" parTransId="{8477000F-AA98-4788-96A6-A0DC9A94A796}" sibTransId="{E46350BE-3408-4F47-A4E0-7EB16D52D2F0}"/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B5A6BE3E-011C-4D83-9D78-A559380196BB}" srcId="{C413BBBF-380C-4CEC-A8CF-B2FCC037CFC8}" destId="{667E79EB-5A23-4F1C-A142-75E6E94D7655}" srcOrd="1" destOrd="0" parTransId="{0817065E-D833-42B1-9952-78204BF72F71}" sibTransId="{EB264106-E288-4D66-ACCC-E6FB295AE52B}"/>
    <dgm:cxn modelId="{7DC19D84-6907-4EFA-9A06-29D16F97568D}" srcId="{AA242DEA-79C5-449E-8309-C3AD15B892FA}" destId="{24C31050-AEAD-43E4-8251-CF0057D230AB}" srcOrd="1" destOrd="0" parTransId="{69F84045-39E0-4208-BD50-6DD19D634342}" sibTransId="{1AC8455F-2424-410A-8424-7E54AA00A248}"/>
    <dgm:cxn modelId="{FB921876-ECC7-4A01-A2F4-3A56751FDD78}" srcId="{B916FD7A-B423-4376-84B7-3265ED6FD5BF}" destId="{E46C53BE-3A93-44E6-97A3-DE947C4F97F5}" srcOrd="0" destOrd="0" parTransId="{A9256A0F-7D46-4B2E-AD71-E2B78111BD8C}" sibTransId="{98B21EBA-D9D2-4895-9FD2-CEEB0B6A4399}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FCA4023A-814C-4433-9050-E53483B955A6}" type="presOf" srcId="{667E79EB-5A23-4F1C-A142-75E6E94D7655}" destId="{4CFA480F-4DF8-4FAD-839E-F92CAD216378}" srcOrd="0" destOrd="1" presId="urn:microsoft.com/office/officeart/2005/8/layout/vList5"/>
    <dgm:cxn modelId="{E44A33C3-7F62-42A1-95C8-DECACCA2CFBB}" type="presOf" srcId="{440E22D3-D065-41E6-888A-BC845BCE18BF}" destId="{4CFA480F-4DF8-4FAD-839E-F92CAD216378}" srcOrd="0" destOrd="0" presId="urn:microsoft.com/office/officeart/2005/8/layout/vList5"/>
    <dgm:cxn modelId="{7CA1C3CF-749D-4BFB-8574-60AB356E822F}" srcId="{B916FD7A-B423-4376-84B7-3265ED6FD5BF}" destId="{496E1925-9EB4-44A9-87EB-74AA94A8BD82}" srcOrd="1" destOrd="0" parTransId="{C73640C4-907A-4544-8101-27B31A8FFEBB}" sibTransId="{C638A96C-7695-42D1-977F-2C44D8A097D2}"/>
    <dgm:cxn modelId="{4AB0A39C-24E7-44F6-A48F-1550D8B1D38F}" type="presOf" srcId="{496E1925-9EB4-44A9-87EB-74AA94A8BD82}" destId="{BFC569A1-F95A-4F93-8757-99CFECB1D562}" srcOrd="0" destOrd="1" presId="urn:microsoft.com/office/officeart/2005/8/layout/vList5"/>
    <dgm:cxn modelId="{0684EFC9-FC3E-4D4A-9A2D-E89277FE6477}" type="presOf" srcId="{2D7E3EE9-7437-4C20-93D4-7A6FEC1AAACE}" destId="{EAB8D254-8FE6-475C-B881-D2E6256A90C8}" srcOrd="0" destOrd="0" presId="urn:microsoft.com/office/officeart/2005/8/layout/vList5"/>
    <dgm:cxn modelId="{38EA1F24-2CD7-4833-9EED-1EF32B727A8E}" type="presOf" srcId="{0151E542-0B91-4ED2-B94F-84B30E3B39FE}" destId="{E8027EA7-242A-47DE-819A-B76961048A94}" srcOrd="0" destOrd="1" presId="urn:microsoft.com/office/officeart/2005/8/layout/vList5"/>
    <dgm:cxn modelId="{1D66994E-1217-4BF6-915F-78080F1F302E}" srcId="{379AA258-C83C-4C40-B648-F1B5C422E6F7}" destId="{C413BBBF-380C-4CEC-A8CF-B2FCC037CFC8}" srcOrd="1" destOrd="0" parTransId="{FE7B5542-196E-42B9-A14C-52859CC6E320}" sibTransId="{76907F42-89C2-4EA8-876B-54F448BB1999}"/>
    <dgm:cxn modelId="{E1AA964E-3B54-4A47-B343-D8FD0ADD22BF}" srcId="{AA242DEA-79C5-449E-8309-C3AD15B892FA}" destId="{904F4153-2776-4143-A13E-5BE4B6701D2D}" srcOrd="0" destOrd="0" parTransId="{39A9161E-42BE-4ADB-9895-D38552ABB1FD}" sibTransId="{ACE74B2E-20BE-4BC1-BAD9-25179AEE04C9}"/>
    <dgm:cxn modelId="{3FD57180-7D31-44B4-A02A-D31BD57D7F84}" type="presOf" srcId="{B916FD7A-B423-4376-84B7-3265ED6FD5BF}" destId="{71F82583-B10E-4E77-8BC2-03A246261B65}" srcOrd="0" destOrd="0" presId="urn:microsoft.com/office/officeart/2005/8/layout/vList5"/>
    <dgm:cxn modelId="{21E34631-6390-40B2-9483-060DDABB3094}" type="presOf" srcId="{AA242DEA-79C5-449E-8309-C3AD15B892FA}" destId="{01BD75F8-34C1-4140-B003-CDB8697EC544}" srcOrd="0" destOrd="0" presId="urn:microsoft.com/office/officeart/2005/8/layout/vList5"/>
    <dgm:cxn modelId="{F559C336-7335-476D-A2BE-CD31A0D9A2A4}" type="presOf" srcId="{C413BBBF-380C-4CEC-A8CF-B2FCC037CFC8}" destId="{20D97318-B57A-4656-9726-C99C8944366C}" srcOrd="0" destOrd="0" presId="urn:microsoft.com/office/officeart/2005/8/layout/vList5"/>
    <dgm:cxn modelId="{3CE11ABB-47E2-4A47-8D46-9EEE5243C62F}" srcId="{C413BBBF-380C-4CEC-A8CF-B2FCC037CFC8}" destId="{440E22D3-D065-41E6-888A-BC845BCE18BF}" srcOrd="0" destOrd="0" parTransId="{F1457B74-7DD4-438D-AECA-4B3E3B446803}" sibTransId="{6F5C4763-E7E3-4070-9641-E4C29F4A8111}"/>
    <dgm:cxn modelId="{6B54B614-0202-4F42-8EED-3082BEB400C8}" type="presOf" srcId="{904F4153-2776-4143-A13E-5BE4B6701D2D}" destId="{2A7B84D9-4D05-4993-8FEA-F0CDF0FE921E}" srcOrd="0" destOrd="0" presId="urn:microsoft.com/office/officeart/2005/8/layout/vList5"/>
    <dgm:cxn modelId="{7188A2FC-B0FB-4ABB-953D-4AEF495D4763}" srcId="{379AA258-C83C-4C40-B648-F1B5C422E6F7}" destId="{2D7E3EE9-7437-4C20-93D4-7A6FEC1AAACE}" srcOrd="2" destOrd="0" parTransId="{5034E569-6F5A-4F9C-B301-01B16FC4BA6F}" sibTransId="{5F8B28FA-2EAB-4322-AA7E-30525F5A9B78}"/>
    <dgm:cxn modelId="{68D97223-E6C5-4A8C-9181-84E86CA26E2C}" type="presParOf" srcId="{847B70ED-EC22-4392-86F8-73C9FB5CA08C}" destId="{D4C3490E-3E29-45E2-B15C-B97B51CDF84E}" srcOrd="0" destOrd="0" presId="urn:microsoft.com/office/officeart/2005/8/layout/vList5"/>
    <dgm:cxn modelId="{397516EC-F08B-4C55-9E32-3B99BFCA0DAA}" type="presParOf" srcId="{D4C3490E-3E29-45E2-B15C-B97B51CDF84E}" destId="{01BD75F8-34C1-4140-B003-CDB8697EC544}" srcOrd="0" destOrd="0" presId="urn:microsoft.com/office/officeart/2005/8/layout/vList5"/>
    <dgm:cxn modelId="{44C60E5B-01DC-442E-B808-2CE7C79FF4B0}" type="presParOf" srcId="{D4C3490E-3E29-45E2-B15C-B97B51CDF84E}" destId="{2A7B84D9-4D05-4993-8FEA-F0CDF0FE921E}" srcOrd="1" destOrd="0" presId="urn:microsoft.com/office/officeart/2005/8/layout/vList5"/>
    <dgm:cxn modelId="{5CCAF312-38BB-4FDF-A948-A0EFFBEC628A}" type="presParOf" srcId="{847B70ED-EC22-4392-86F8-73C9FB5CA08C}" destId="{736E444F-C763-4CC3-B77B-A2BE0FAEB1D4}" srcOrd="1" destOrd="0" presId="urn:microsoft.com/office/officeart/2005/8/layout/vList5"/>
    <dgm:cxn modelId="{81B62441-A0A4-4C11-A991-09788337D2D6}" type="presParOf" srcId="{847B70ED-EC22-4392-86F8-73C9FB5CA08C}" destId="{ECF6CA2C-2BBC-4AAB-9CBA-2A4CC201FAA2}" srcOrd="2" destOrd="0" presId="urn:microsoft.com/office/officeart/2005/8/layout/vList5"/>
    <dgm:cxn modelId="{75839D32-22C5-4339-8537-F90142BA16C0}" type="presParOf" srcId="{ECF6CA2C-2BBC-4AAB-9CBA-2A4CC201FAA2}" destId="{20D97318-B57A-4656-9726-C99C8944366C}" srcOrd="0" destOrd="0" presId="urn:microsoft.com/office/officeart/2005/8/layout/vList5"/>
    <dgm:cxn modelId="{F62FE467-2462-4B32-AAA3-19708EF07812}" type="presParOf" srcId="{ECF6CA2C-2BBC-4AAB-9CBA-2A4CC201FAA2}" destId="{4CFA480F-4DF8-4FAD-839E-F92CAD216378}" srcOrd="1" destOrd="0" presId="urn:microsoft.com/office/officeart/2005/8/layout/vList5"/>
    <dgm:cxn modelId="{3F7F95C0-81BC-4B83-BB15-3F9937DBDA73}" type="presParOf" srcId="{847B70ED-EC22-4392-86F8-73C9FB5CA08C}" destId="{39460369-7986-45F6-8DB9-8199D7A81E79}" srcOrd="3" destOrd="0" presId="urn:microsoft.com/office/officeart/2005/8/layout/vList5"/>
    <dgm:cxn modelId="{233BF278-6E72-4642-AA3A-D1B505051C8E}" type="presParOf" srcId="{847B70ED-EC22-4392-86F8-73C9FB5CA08C}" destId="{3675A36C-53C5-4F49-B5FA-6DA429064C2A}" srcOrd="4" destOrd="0" presId="urn:microsoft.com/office/officeart/2005/8/layout/vList5"/>
    <dgm:cxn modelId="{C1B887B9-26D6-4A31-A7B9-A36880F6D855}" type="presParOf" srcId="{3675A36C-53C5-4F49-B5FA-6DA429064C2A}" destId="{EAB8D254-8FE6-475C-B881-D2E6256A90C8}" srcOrd="0" destOrd="0" presId="urn:microsoft.com/office/officeart/2005/8/layout/vList5"/>
    <dgm:cxn modelId="{B77D2C59-EC37-4D62-84CF-9B5CE36E87F9}" type="presParOf" srcId="{3675A36C-53C5-4F49-B5FA-6DA429064C2A}" destId="{E8027EA7-242A-47DE-819A-B76961048A94}" srcOrd="1" destOrd="0" presId="urn:microsoft.com/office/officeart/2005/8/layout/vList5"/>
    <dgm:cxn modelId="{102B4918-0D30-4BC9-B105-73DCF6BDF3E8}" type="presParOf" srcId="{847B70ED-EC22-4392-86F8-73C9FB5CA08C}" destId="{9BE0EA74-7B86-4EDA-A8D0-65AB6A6D1264}" srcOrd="5" destOrd="0" presId="urn:microsoft.com/office/officeart/2005/8/layout/vList5"/>
    <dgm:cxn modelId="{93362617-8430-43F9-B9AD-3BCE0F91E68E}" type="presParOf" srcId="{847B70ED-EC22-4392-86F8-73C9FB5CA08C}" destId="{049BFA19-5BA5-470A-AECC-4F39BF714F21}" srcOrd="6" destOrd="0" presId="urn:microsoft.com/office/officeart/2005/8/layout/vList5"/>
    <dgm:cxn modelId="{982B3E1E-DD48-4A98-8D54-DE45F8F1579A}" type="presParOf" srcId="{049BFA19-5BA5-470A-AECC-4F39BF714F21}" destId="{71F82583-B10E-4E77-8BC2-03A246261B65}" srcOrd="0" destOrd="0" presId="urn:microsoft.com/office/officeart/2005/8/layout/vList5"/>
    <dgm:cxn modelId="{1FA68DF9-BE77-4143-8B33-7941900AA338}" type="presParOf" srcId="{049BFA19-5BA5-470A-AECC-4F39BF714F21}" destId="{BFC569A1-F95A-4F93-8757-99CFECB1D56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600" b="0" i="0" dirty="0" smtClean="0">
              <a:latin typeface="+mj-lt"/>
            </a:rPr>
            <a:t>User </a:t>
          </a:r>
          <a:r>
            <a:rPr lang="en-US" sz="1600" b="0" i="0" dirty="0" smtClean="0">
              <a:latin typeface="+mn-lt"/>
            </a:rPr>
            <a:t>Experience</a:t>
          </a:r>
          <a:endParaRPr lang="en-US" sz="1600" b="0" i="0" dirty="0">
            <a:latin typeface="+mn-lt"/>
          </a:endParaRP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904F4153-2776-4143-A13E-5BE4B6701D2D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Consistent optimized client experience across client channels</a:t>
          </a:r>
          <a:endParaRPr lang="en-US" sz="1400" i="1" dirty="0">
            <a:latin typeface="+mn-lt"/>
          </a:endParaRPr>
        </a:p>
      </dgm:t>
    </dgm:pt>
    <dgm:pt modelId="{39A9161E-42BE-4ADB-9895-D38552ABB1FD}" type="parTrans" cxnId="{E1AA964E-3B54-4A47-B343-D8FD0ADD22BF}">
      <dgm:prSet/>
      <dgm:spPr/>
      <dgm:t>
        <a:bodyPr/>
        <a:lstStyle/>
        <a:p>
          <a:endParaRPr lang="en-US"/>
        </a:p>
      </dgm:t>
    </dgm:pt>
    <dgm:pt modelId="{ACE74B2E-20BE-4BC1-BAD9-25179AEE04C9}" type="sibTrans" cxnId="{E1AA964E-3B54-4A47-B343-D8FD0ADD22BF}">
      <dgm:prSet/>
      <dgm:spPr/>
      <dgm:t>
        <a:bodyPr/>
        <a:lstStyle/>
        <a:p>
          <a:endParaRPr lang="en-US"/>
        </a:p>
      </dgm:t>
    </dgm:pt>
    <dgm:pt modelId="{C413BBBF-380C-4CEC-A8CF-B2FCC037CFC8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Infrastructure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Cost</a:t>
          </a:r>
        </a:p>
      </dgm:t>
    </dgm:pt>
    <dgm:pt modelId="{FE7B5542-196E-42B9-A14C-52859CC6E320}" type="parTrans" cxnId="{1D66994E-1217-4BF6-915F-78080F1F302E}">
      <dgm:prSet/>
      <dgm:spPr/>
      <dgm:t>
        <a:bodyPr/>
        <a:lstStyle/>
        <a:p>
          <a:endParaRPr lang="en-US"/>
        </a:p>
      </dgm:t>
    </dgm:pt>
    <dgm:pt modelId="{76907F42-89C2-4EA8-876B-54F448BB1999}" type="sibTrans" cxnId="{1D66994E-1217-4BF6-915F-78080F1F302E}">
      <dgm:prSet/>
      <dgm:spPr/>
      <dgm:t>
        <a:bodyPr/>
        <a:lstStyle/>
        <a:p>
          <a:endParaRPr lang="en-US"/>
        </a:p>
      </dgm:t>
    </dgm:pt>
    <dgm:pt modelId="{440E22D3-D065-41E6-888A-BC845BCE18BF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Opportunity to leverage FOSS (Free Open Source Software)</a:t>
          </a:r>
        </a:p>
      </dgm:t>
    </dgm:pt>
    <dgm:pt modelId="{F1457B74-7DD4-438D-AECA-4B3E3B446803}" type="parTrans" cxnId="{3CE11ABB-47E2-4A47-8D46-9EEE5243C62F}">
      <dgm:prSet/>
      <dgm:spPr/>
      <dgm:t>
        <a:bodyPr/>
        <a:lstStyle/>
        <a:p>
          <a:endParaRPr lang="en-US"/>
        </a:p>
      </dgm:t>
    </dgm:pt>
    <dgm:pt modelId="{6F5C4763-E7E3-4070-9641-E4C29F4A8111}" type="sibTrans" cxnId="{3CE11ABB-47E2-4A47-8D46-9EEE5243C62F}">
      <dgm:prSet/>
      <dgm:spPr/>
      <dgm:t>
        <a:bodyPr/>
        <a:lstStyle/>
        <a:p>
          <a:endParaRPr lang="en-US"/>
        </a:p>
      </dgm:t>
    </dgm:pt>
    <dgm:pt modelId="{24C31050-AEAD-43E4-8251-CF0057D230AB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“One Portal” user experience capability</a:t>
          </a:r>
          <a:endParaRPr lang="en-US" sz="1400" i="1" dirty="0">
            <a:latin typeface="+mn-lt"/>
          </a:endParaRPr>
        </a:p>
      </dgm:t>
    </dgm:pt>
    <dgm:pt modelId="{69F84045-39E0-4208-BD50-6DD19D634342}" type="parTrans" cxnId="{7DC19D84-6907-4EFA-9A06-29D16F97568D}">
      <dgm:prSet/>
      <dgm:spPr/>
      <dgm:t>
        <a:bodyPr/>
        <a:lstStyle/>
        <a:p>
          <a:endParaRPr lang="en-US"/>
        </a:p>
      </dgm:t>
    </dgm:pt>
    <dgm:pt modelId="{1AC8455F-2424-410A-8424-7E54AA00A248}" type="sibTrans" cxnId="{7DC19D84-6907-4EFA-9A06-29D16F97568D}">
      <dgm:prSet/>
      <dgm:spPr/>
      <dgm:t>
        <a:bodyPr/>
        <a:lstStyle/>
        <a:p>
          <a:endParaRPr lang="en-US"/>
        </a:p>
      </dgm:t>
    </dgm:pt>
    <dgm:pt modelId="{667E79EB-5A23-4F1C-A142-75E6E94D7655}">
      <dgm:prSet phldrT="[Text]" custT="1"/>
      <dgm:spPr/>
      <dgm:t>
        <a:bodyPr/>
        <a:lstStyle/>
        <a:p>
          <a:r>
            <a:rPr lang="en-US" sz="1400" i="1" dirty="0" smtClean="0">
              <a:latin typeface="+mn-lt"/>
            </a:rPr>
            <a:t>Inexpensive modern hardware compared to IBM AS/400 iSeries</a:t>
          </a:r>
        </a:p>
      </dgm:t>
    </dgm:pt>
    <dgm:pt modelId="{0817065E-D833-42B1-9952-78204BF72F71}" type="parTrans" cxnId="{B5A6BE3E-011C-4D83-9D78-A559380196BB}">
      <dgm:prSet/>
      <dgm:spPr/>
      <dgm:t>
        <a:bodyPr/>
        <a:lstStyle/>
        <a:p>
          <a:endParaRPr lang="en-US"/>
        </a:p>
      </dgm:t>
    </dgm:pt>
    <dgm:pt modelId="{EB264106-E288-4D66-ACCC-E6FB295AE52B}" type="sibTrans" cxnId="{B5A6BE3E-011C-4D83-9D78-A559380196BB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2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2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ECF6CA2C-2BBC-4AAB-9CBA-2A4CC201FAA2}" type="pres">
      <dgm:prSet presAssocID="{C413BBBF-380C-4CEC-A8CF-B2FCC037CFC8}" presName="linNode" presStyleCnt="0"/>
      <dgm:spPr/>
    </dgm:pt>
    <dgm:pt modelId="{20D97318-B57A-4656-9726-C99C8944366C}" type="pres">
      <dgm:prSet presAssocID="{C413BBBF-380C-4CEC-A8CF-B2FCC037CFC8}" presName="parentText" presStyleLbl="node1" presStyleIdx="1" presStyleCnt="2" custScaleX="70170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FA480F-4DF8-4FAD-839E-F92CAD216378}" type="pres">
      <dgm:prSet presAssocID="{C413BBBF-380C-4CEC-A8CF-B2FCC037CFC8}" presName="descendantText" presStyleLbl="alignAccFollowNode1" presStyleIdx="1" presStyleCnt="2" custScaleX="116303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DC19D84-6907-4EFA-9A06-29D16F97568D}" srcId="{AA242DEA-79C5-449E-8309-C3AD15B892FA}" destId="{24C31050-AEAD-43E4-8251-CF0057D230AB}" srcOrd="1" destOrd="0" parTransId="{69F84045-39E0-4208-BD50-6DD19D634342}" sibTransId="{1AC8455F-2424-410A-8424-7E54AA00A248}"/>
    <dgm:cxn modelId="{B74BA327-1E47-4807-AC02-EDE564A88795}" type="presOf" srcId="{AA242DEA-79C5-449E-8309-C3AD15B892FA}" destId="{01BD75F8-34C1-4140-B003-CDB8697EC544}" srcOrd="0" destOrd="0" presId="urn:microsoft.com/office/officeart/2005/8/layout/vList5"/>
    <dgm:cxn modelId="{1D66994E-1217-4BF6-915F-78080F1F302E}" srcId="{379AA258-C83C-4C40-B648-F1B5C422E6F7}" destId="{C413BBBF-380C-4CEC-A8CF-B2FCC037CFC8}" srcOrd="1" destOrd="0" parTransId="{FE7B5542-196E-42B9-A14C-52859CC6E320}" sibTransId="{76907F42-89C2-4EA8-876B-54F448BB1999}"/>
    <dgm:cxn modelId="{3CE11ABB-47E2-4A47-8D46-9EEE5243C62F}" srcId="{C413BBBF-380C-4CEC-A8CF-B2FCC037CFC8}" destId="{440E22D3-D065-41E6-888A-BC845BCE18BF}" srcOrd="0" destOrd="0" parTransId="{F1457B74-7DD4-438D-AECA-4B3E3B446803}" sibTransId="{6F5C4763-E7E3-4070-9641-E4C29F4A8111}"/>
    <dgm:cxn modelId="{B5A6BE3E-011C-4D83-9D78-A559380196BB}" srcId="{C413BBBF-380C-4CEC-A8CF-B2FCC037CFC8}" destId="{667E79EB-5A23-4F1C-A142-75E6E94D7655}" srcOrd="1" destOrd="0" parTransId="{0817065E-D833-42B1-9952-78204BF72F71}" sibTransId="{EB264106-E288-4D66-ACCC-E6FB295AE52B}"/>
    <dgm:cxn modelId="{E1AA964E-3B54-4A47-B343-D8FD0ADD22BF}" srcId="{AA242DEA-79C5-449E-8309-C3AD15B892FA}" destId="{904F4153-2776-4143-A13E-5BE4B6701D2D}" srcOrd="0" destOrd="0" parTransId="{39A9161E-42BE-4ADB-9895-D38552ABB1FD}" sibTransId="{ACE74B2E-20BE-4BC1-BAD9-25179AEE04C9}"/>
    <dgm:cxn modelId="{7A9185D9-DE6E-4433-9457-7D36F879A9D3}" type="presOf" srcId="{C413BBBF-380C-4CEC-A8CF-B2FCC037CFC8}" destId="{20D97318-B57A-4656-9726-C99C8944366C}" srcOrd="0" destOrd="0" presId="urn:microsoft.com/office/officeart/2005/8/layout/vList5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666D3294-0A6C-4357-B40A-2BDD6B4B5D8D}" type="presOf" srcId="{440E22D3-D065-41E6-888A-BC845BCE18BF}" destId="{4CFA480F-4DF8-4FAD-839E-F92CAD216378}" srcOrd="0" destOrd="0" presId="urn:microsoft.com/office/officeart/2005/8/layout/vList5"/>
    <dgm:cxn modelId="{C194A9F1-0997-441D-9C5C-E01D659BF345}" type="presOf" srcId="{667E79EB-5A23-4F1C-A142-75E6E94D7655}" destId="{4CFA480F-4DF8-4FAD-839E-F92CAD216378}" srcOrd="0" destOrd="1" presId="urn:microsoft.com/office/officeart/2005/8/layout/vList5"/>
    <dgm:cxn modelId="{D36DA7EE-6B2C-4688-80CE-EC485F6A9CD2}" type="presOf" srcId="{24C31050-AEAD-43E4-8251-CF0057D230AB}" destId="{2A7B84D9-4D05-4993-8FEA-F0CDF0FE921E}" srcOrd="0" destOrd="1" presId="urn:microsoft.com/office/officeart/2005/8/layout/vList5"/>
    <dgm:cxn modelId="{AC2B735A-4D1F-4171-A3FE-F9ABDC86A9B5}" type="presOf" srcId="{904F4153-2776-4143-A13E-5BE4B6701D2D}" destId="{2A7B84D9-4D05-4993-8FEA-F0CDF0FE921E}" srcOrd="0" destOrd="0" presId="urn:microsoft.com/office/officeart/2005/8/layout/vList5"/>
    <dgm:cxn modelId="{8045007A-EDD7-463B-BCEC-E7DEC3A069D2}" type="presOf" srcId="{379AA258-C83C-4C40-B648-F1B5C422E6F7}" destId="{847B70ED-EC22-4392-86F8-73C9FB5CA08C}" srcOrd="0" destOrd="0" presId="urn:microsoft.com/office/officeart/2005/8/layout/vList5"/>
    <dgm:cxn modelId="{76CE3DB0-E2DC-4B31-A7C7-A6252E8FA3F3}" type="presParOf" srcId="{847B70ED-EC22-4392-86F8-73C9FB5CA08C}" destId="{D4C3490E-3E29-45E2-B15C-B97B51CDF84E}" srcOrd="0" destOrd="0" presId="urn:microsoft.com/office/officeart/2005/8/layout/vList5"/>
    <dgm:cxn modelId="{EC1C8F71-4A15-4FD5-A5FA-BDC6387784D6}" type="presParOf" srcId="{D4C3490E-3E29-45E2-B15C-B97B51CDF84E}" destId="{01BD75F8-34C1-4140-B003-CDB8697EC544}" srcOrd="0" destOrd="0" presId="urn:microsoft.com/office/officeart/2005/8/layout/vList5"/>
    <dgm:cxn modelId="{14025498-A098-4C1E-9B94-7C1A098437BA}" type="presParOf" srcId="{D4C3490E-3E29-45E2-B15C-B97B51CDF84E}" destId="{2A7B84D9-4D05-4993-8FEA-F0CDF0FE921E}" srcOrd="1" destOrd="0" presId="urn:microsoft.com/office/officeart/2005/8/layout/vList5"/>
    <dgm:cxn modelId="{EB8C0718-0AA4-45C4-BF21-0CE3A3237C1A}" type="presParOf" srcId="{847B70ED-EC22-4392-86F8-73C9FB5CA08C}" destId="{736E444F-C763-4CC3-B77B-A2BE0FAEB1D4}" srcOrd="1" destOrd="0" presId="urn:microsoft.com/office/officeart/2005/8/layout/vList5"/>
    <dgm:cxn modelId="{208F0466-4396-4ECC-A39B-816D2FBECCA2}" type="presParOf" srcId="{847B70ED-EC22-4392-86F8-73C9FB5CA08C}" destId="{ECF6CA2C-2BBC-4AAB-9CBA-2A4CC201FAA2}" srcOrd="2" destOrd="0" presId="urn:microsoft.com/office/officeart/2005/8/layout/vList5"/>
    <dgm:cxn modelId="{ABB941F0-48D5-46AA-8E81-C432B57A3894}" type="presParOf" srcId="{ECF6CA2C-2BBC-4AAB-9CBA-2A4CC201FAA2}" destId="{20D97318-B57A-4656-9726-C99C8944366C}" srcOrd="0" destOrd="0" presId="urn:microsoft.com/office/officeart/2005/8/layout/vList5"/>
    <dgm:cxn modelId="{25087610-09C6-4DE2-A543-FEF18F3E984B}" type="presParOf" srcId="{ECF6CA2C-2BBC-4AAB-9CBA-2A4CC201FAA2}" destId="{4CFA480F-4DF8-4FAD-839E-F92CAD21637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49A0DB4-33B4-4239-9963-F2A749984CF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6857EE-EA50-421D-B8D8-D293D32EBED8}">
      <dgm:prSet phldrT="[Text]" custT="1"/>
      <dgm:spPr/>
      <dgm:t>
        <a:bodyPr/>
        <a:lstStyle/>
        <a:p>
          <a:r>
            <a:rPr lang="en-US" sz="1200" b="1" dirty="0" smtClean="0"/>
            <a:t>Zuul</a:t>
          </a:r>
          <a:endParaRPr lang="en-US" sz="1000" b="1" dirty="0"/>
        </a:p>
      </dgm:t>
    </dgm:pt>
    <dgm:pt modelId="{B29E628F-09EF-40AB-A829-CEB77BEC19C9}" type="parTrans" cxnId="{3AE85A6E-2BBE-4CCB-815E-F9E0F385E6F5}">
      <dgm:prSet/>
      <dgm:spPr/>
      <dgm:t>
        <a:bodyPr/>
        <a:lstStyle/>
        <a:p>
          <a:endParaRPr lang="en-US"/>
        </a:p>
      </dgm:t>
    </dgm:pt>
    <dgm:pt modelId="{70F9E659-2279-442A-8FB6-8395D804B93D}" type="sibTrans" cxnId="{3AE85A6E-2BBE-4CCB-815E-F9E0F385E6F5}">
      <dgm:prSet/>
      <dgm:spPr/>
      <dgm:t>
        <a:bodyPr/>
        <a:lstStyle/>
        <a:p>
          <a:endParaRPr lang="en-US"/>
        </a:p>
      </dgm:t>
    </dgm:pt>
    <dgm:pt modelId="{8A2B460C-D136-4807-AFEF-8C7FB482D362}">
      <dgm:prSet phldrT="[Text]" custT="1"/>
      <dgm:spPr/>
      <dgm:t>
        <a:bodyPr/>
        <a:lstStyle/>
        <a:p>
          <a:pPr marL="91440"/>
          <a:r>
            <a:rPr lang="en-US" sz="1000" dirty="0" smtClean="0"/>
            <a:t> Provides dynamic routing, monitoring , resiliency, security etc.</a:t>
          </a:r>
          <a:endParaRPr lang="en-US" sz="1000" dirty="0"/>
        </a:p>
      </dgm:t>
    </dgm:pt>
    <dgm:pt modelId="{D0A71D73-FB98-4A48-94F2-4E3C183747C6}" type="parTrans" cxnId="{82C3B383-A47F-4AB2-8B00-C288EF95DD30}">
      <dgm:prSet/>
      <dgm:spPr/>
      <dgm:t>
        <a:bodyPr/>
        <a:lstStyle/>
        <a:p>
          <a:endParaRPr lang="en-US"/>
        </a:p>
      </dgm:t>
    </dgm:pt>
    <dgm:pt modelId="{0B8CFC41-0F89-43B9-9139-A21BED08968F}" type="sibTrans" cxnId="{82C3B383-A47F-4AB2-8B00-C288EF95DD30}">
      <dgm:prSet/>
      <dgm:spPr/>
      <dgm:t>
        <a:bodyPr/>
        <a:lstStyle/>
        <a:p>
          <a:endParaRPr lang="en-US"/>
        </a:p>
      </dgm:t>
    </dgm:pt>
    <dgm:pt modelId="{CA653B57-6EB2-467F-B944-BED6AF0FB0F9}">
      <dgm:prSet phldrT="[Text]" custT="1"/>
      <dgm:spPr/>
      <dgm:t>
        <a:bodyPr/>
        <a:lstStyle/>
        <a:p>
          <a:pPr marL="91440"/>
          <a:r>
            <a:rPr lang="en-US" sz="1000" dirty="0" smtClean="0"/>
            <a:t> Balances the load with the help of Ribbon Client module</a:t>
          </a:r>
          <a:endParaRPr lang="en-US" sz="1000" dirty="0"/>
        </a:p>
      </dgm:t>
    </dgm:pt>
    <dgm:pt modelId="{D2AE40B7-0482-40E2-86F6-0606E1436815}" type="parTrans" cxnId="{579D09AD-B27A-4CBB-944E-42C7FA80EC5E}">
      <dgm:prSet/>
      <dgm:spPr/>
      <dgm:t>
        <a:bodyPr/>
        <a:lstStyle/>
        <a:p>
          <a:endParaRPr lang="en-US"/>
        </a:p>
      </dgm:t>
    </dgm:pt>
    <dgm:pt modelId="{4BD10C31-8F09-4728-802A-52A7741622E4}" type="sibTrans" cxnId="{579D09AD-B27A-4CBB-944E-42C7FA80EC5E}">
      <dgm:prSet/>
      <dgm:spPr/>
      <dgm:t>
        <a:bodyPr/>
        <a:lstStyle/>
        <a:p>
          <a:endParaRPr lang="en-US"/>
        </a:p>
      </dgm:t>
    </dgm:pt>
    <dgm:pt modelId="{6AB260F1-4155-4A1E-B583-171862BEE883}">
      <dgm:prSet phldrT="[Text]" custT="1"/>
      <dgm:spPr/>
      <dgm:t>
        <a:bodyPr/>
        <a:lstStyle/>
        <a:p>
          <a:r>
            <a:rPr lang="en-US" sz="1200" b="1" dirty="0" smtClean="0"/>
            <a:t>Eureka</a:t>
          </a:r>
          <a:endParaRPr lang="en-US" sz="1200" b="1" dirty="0"/>
        </a:p>
      </dgm:t>
    </dgm:pt>
    <dgm:pt modelId="{6D0F1FD7-6BB0-4078-96B1-357EB5FC202D}" type="parTrans" cxnId="{D3CC0942-AD09-4148-B70A-3C0D0E114B85}">
      <dgm:prSet/>
      <dgm:spPr/>
      <dgm:t>
        <a:bodyPr/>
        <a:lstStyle/>
        <a:p>
          <a:endParaRPr lang="en-US"/>
        </a:p>
      </dgm:t>
    </dgm:pt>
    <dgm:pt modelId="{F565E595-3FD6-46E5-8844-C6D90B1A2D52}" type="sibTrans" cxnId="{D3CC0942-AD09-4148-B70A-3C0D0E114B85}">
      <dgm:prSet/>
      <dgm:spPr/>
      <dgm:t>
        <a:bodyPr/>
        <a:lstStyle/>
        <a:p>
          <a:endParaRPr lang="en-US"/>
        </a:p>
      </dgm:t>
    </dgm:pt>
    <dgm:pt modelId="{E7B3C492-7196-4060-8646-3F8694241075}">
      <dgm:prSet phldrT="[Text]" custT="1"/>
      <dgm:spPr/>
      <dgm:t>
        <a:bodyPr/>
        <a:lstStyle/>
        <a:p>
          <a:r>
            <a:rPr lang="en-US" sz="1000" dirty="0" smtClean="0"/>
            <a:t>Service registry</a:t>
          </a:r>
          <a:endParaRPr lang="en-US" sz="1000" dirty="0"/>
        </a:p>
      </dgm:t>
    </dgm:pt>
    <dgm:pt modelId="{F7F96F36-424A-4120-B721-2199C713A878}" type="parTrans" cxnId="{F7C24F75-361C-4EBE-8D58-80BC61772FBF}">
      <dgm:prSet/>
      <dgm:spPr/>
      <dgm:t>
        <a:bodyPr/>
        <a:lstStyle/>
        <a:p>
          <a:endParaRPr lang="en-US"/>
        </a:p>
      </dgm:t>
    </dgm:pt>
    <dgm:pt modelId="{38129BC1-DE8C-467F-9F91-A553EF50DA24}" type="sibTrans" cxnId="{F7C24F75-361C-4EBE-8D58-80BC61772FBF}">
      <dgm:prSet/>
      <dgm:spPr/>
      <dgm:t>
        <a:bodyPr/>
        <a:lstStyle/>
        <a:p>
          <a:endParaRPr lang="en-US"/>
        </a:p>
      </dgm:t>
    </dgm:pt>
    <dgm:pt modelId="{196A86C3-55CF-449D-8DEB-BE18DF61482D}">
      <dgm:prSet phldrT="[Text]" custT="1"/>
      <dgm:spPr/>
      <dgm:t>
        <a:bodyPr/>
        <a:lstStyle/>
        <a:p>
          <a:r>
            <a:rPr lang="en-US" sz="1200" b="1" dirty="0" smtClean="0"/>
            <a:t>Config</a:t>
          </a:r>
          <a:endParaRPr lang="en-US" sz="1200" b="1" dirty="0"/>
        </a:p>
      </dgm:t>
    </dgm:pt>
    <dgm:pt modelId="{67140E3B-658D-4C7A-8BC4-AA726CA39DE2}" type="parTrans" cxnId="{E83FFFAD-E748-41A4-BCD5-BA5C500D5A5A}">
      <dgm:prSet/>
      <dgm:spPr/>
      <dgm:t>
        <a:bodyPr/>
        <a:lstStyle/>
        <a:p>
          <a:endParaRPr lang="en-US"/>
        </a:p>
      </dgm:t>
    </dgm:pt>
    <dgm:pt modelId="{9079C8B2-9362-4FE7-8841-8357837340A4}" type="sibTrans" cxnId="{E83FFFAD-E748-41A4-BCD5-BA5C500D5A5A}">
      <dgm:prSet/>
      <dgm:spPr/>
      <dgm:t>
        <a:bodyPr/>
        <a:lstStyle/>
        <a:p>
          <a:endParaRPr lang="en-US"/>
        </a:p>
      </dgm:t>
    </dgm:pt>
    <dgm:pt modelId="{FC208414-0AC3-42C4-9F44-053EB80ED807}">
      <dgm:prSet phldrT="[Text]" custT="1"/>
      <dgm:spPr/>
      <dgm:t>
        <a:bodyPr/>
        <a:lstStyle/>
        <a:p>
          <a:r>
            <a:rPr lang="en-US" sz="1000" dirty="0" smtClean="0"/>
            <a:t>support for externalized configuration in a distributed system</a:t>
          </a:r>
          <a:endParaRPr lang="en-US" sz="1000" dirty="0"/>
        </a:p>
      </dgm:t>
    </dgm:pt>
    <dgm:pt modelId="{1DF167C6-EC8B-49A0-BA2A-96A7DC59DBAF}" type="parTrans" cxnId="{3B1BC695-8A6C-4A75-9E25-A12778EC28F0}">
      <dgm:prSet/>
      <dgm:spPr/>
      <dgm:t>
        <a:bodyPr/>
        <a:lstStyle/>
        <a:p>
          <a:endParaRPr lang="en-US"/>
        </a:p>
      </dgm:t>
    </dgm:pt>
    <dgm:pt modelId="{D4B430AC-896C-4FF2-A6FD-32586AFB1509}" type="sibTrans" cxnId="{3B1BC695-8A6C-4A75-9E25-A12778EC28F0}">
      <dgm:prSet/>
      <dgm:spPr/>
      <dgm:t>
        <a:bodyPr/>
        <a:lstStyle/>
        <a:p>
          <a:endParaRPr lang="en-US"/>
        </a:p>
      </dgm:t>
    </dgm:pt>
    <dgm:pt modelId="{F2D661BB-2080-4085-B2F4-01D77DDD6A9E}">
      <dgm:prSet phldrT="[Text]" custT="1"/>
      <dgm:spPr/>
      <dgm:t>
        <a:bodyPr/>
        <a:lstStyle/>
        <a:p>
          <a:r>
            <a:rPr lang="en-US" sz="1200" b="1" dirty="0" smtClean="0"/>
            <a:t>Hystrix</a:t>
          </a:r>
          <a:endParaRPr lang="en-US" sz="1200" b="1" dirty="0"/>
        </a:p>
      </dgm:t>
    </dgm:pt>
    <dgm:pt modelId="{AA3117F6-1C59-4A8B-A872-849021D722DC}" type="parTrans" cxnId="{4F17ECC7-0AAC-4B30-9601-F3DB6CBD28FF}">
      <dgm:prSet/>
      <dgm:spPr/>
      <dgm:t>
        <a:bodyPr/>
        <a:lstStyle/>
        <a:p>
          <a:endParaRPr lang="en-US"/>
        </a:p>
      </dgm:t>
    </dgm:pt>
    <dgm:pt modelId="{EBF0E5A3-6CBF-4106-AC93-96BAF2236B65}" type="sibTrans" cxnId="{4F17ECC7-0AAC-4B30-9601-F3DB6CBD28FF}">
      <dgm:prSet/>
      <dgm:spPr/>
      <dgm:t>
        <a:bodyPr/>
        <a:lstStyle/>
        <a:p>
          <a:endParaRPr lang="en-US"/>
        </a:p>
      </dgm:t>
    </dgm:pt>
    <dgm:pt modelId="{FC0B5751-CA4D-4918-83B8-D4FFBAFB9B12}">
      <dgm:prSet phldrT="[Text]" custT="1"/>
      <dgm:spPr/>
      <dgm:t>
        <a:bodyPr/>
        <a:lstStyle/>
        <a:p>
          <a:r>
            <a:rPr lang="en-US" sz="1000" dirty="0" smtClean="0"/>
            <a:t>Stops cascading failures in a complex distributed system</a:t>
          </a:r>
          <a:endParaRPr lang="en-US" sz="1000" dirty="0"/>
        </a:p>
      </dgm:t>
    </dgm:pt>
    <dgm:pt modelId="{A0CC7114-96F1-4A38-8134-58FC2518C168}" type="parTrans" cxnId="{00D1BA12-AB60-48D6-9B0A-FDE105E281F4}">
      <dgm:prSet/>
      <dgm:spPr/>
      <dgm:t>
        <a:bodyPr/>
        <a:lstStyle/>
        <a:p>
          <a:endParaRPr lang="en-US"/>
        </a:p>
      </dgm:t>
    </dgm:pt>
    <dgm:pt modelId="{3DED340E-0523-43A8-8DE0-5495DB890562}" type="sibTrans" cxnId="{00D1BA12-AB60-48D6-9B0A-FDE105E281F4}">
      <dgm:prSet/>
      <dgm:spPr/>
      <dgm:t>
        <a:bodyPr/>
        <a:lstStyle/>
        <a:p>
          <a:endParaRPr lang="en-US"/>
        </a:p>
      </dgm:t>
    </dgm:pt>
    <dgm:pt modelId="{C503058F-4DF2-48DD-A61C-B73873AA8A3C}">
      <dgm:prSet phldrT="[Text]" custT="1"/>
      <dgm:spPr/>
      <dgm:t>
        <a:bodyPr/>
        <a:lstStyle/>
        <a:p>
          <a:r>
            <a:rPr lang="en-US" sz="1200" b="1" dirty="0" smtClean="0"/>
            <a:t>Turbine</a:t>
          </a:r>
          <a:endParaRPr lang="en-US" sz="1200" b="1" dirty="0"/>
        </a:p>
      </dgm:t>
    </dgm:pt>
    <dgm:pt modelId="{63DFB790-5ED4-46F3-9373-596E9D14E73B}" type="parTrans" cxnId="{C64F5F48-E774-4ED2-8492-13BACE8EBD0A}">
      <dgm:prSet/>
      <dgm:spPr/>
      <dgm:t>
        <a:bodyPr/>
        <a:lstStyle/>
        <a:p>
          <a:endParaRPr lang="en-US"/>
        </a:p>
      </dgm:t>
    </dgm:pt>
    <dgm:pt modelId="{0614A2A9-5406-4893-8C98-93701B6BB4F8}" type="sibTrans" cxnId="{C64F5F48-E774-4ED2-8492-13BACE8EBD0A}">
      <dgm:prSet/>
      <dgm:spPr/>
      <dgm:t>
        <a:bodyPr/>
        <a:lstStyle/>
        <a:p>
          <a:endParaRPr lang="en-US"/>
        </a:p>
      </dgm:t>
    </dgm:pt>
    <dgm:pt modelId="{E4D98BA8-7ACF-420E-8EFF-4F364F941904}">
      <dgm:prSet phldrT="[Text]" custT="1"/>
      <dgm:spPr/>
      <dgm:t>
        <a:bodyPr/>
        <a:lstStyle/>
        <a:p>
          <a:r>
            <a:rPr lang="en-US" sz="1000" dirty="0" smtClean="0"/>
            <a:t>Aggregates multiple Hystrix metrics streams to provide the aggregated view</a:t>
          </a:r>
          <a:endParaRPr lang="en-US" sz="1000" dirty="0"/>
        </a:p>
      </dgm:t>
    </dgm:pt>
    <dgm:pt modelId="{EC776C8F-CE89-4D7E-A7F1-F76E493C00EA}" type="parTrans" cxnId="{12A9E8F4-FEDA-4390-A66B-C76047EA8761}">
      <dgm:prSet/>
      <dgm:spPr/>
      <dgm:t>
        <a:bodyPr/>
        <a:lstStyle/>
        <a:p>
          <a:endParaRPr lang="en-US"/>
        </a:p>
      </dgm:t>
    </dgm:pt>
    <dgm:pt modelId="{A8E4C195-F5C5-4135-9F5A-6B35561755A7}" type="sibTrans" cxnId="{12A9E8F4-FEDA-4390-A66B-C76047EA8761}">
      <dgm:prSet/>
      <dgm:spPr/>
      <dgm:t>
        <a:bodyPr/>
        <a:lstStyle/>
        <a:p>
          <a:endParaRPr lang="en-US"/>
        </a:p>
      </dgm:t>
    </dgm:pt>
    <dgm:pt modelId="{0540B764-94CE-4DF7-9789-F6ED5DCE3594}">
      <dgm:prSet phldrT="[Text]" custT="1"/>
      <dgm:spPr/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Hystrix</a:t>
          </a:r>
        </a:p>
        <a:p>
          <a:pPr>
            <a:spcAft>
              <a:spcPts val="0"/>
            </a:spcAft>
          </a:pPr>
          <a:r>
            <a:rPr lang="en-US" sz="1200" b="1" dirty="0" smtClean="0"/>
            <a:t>Dashboard</a:t>
          </a:r>
          <a:endParaRPr lang="en-US" sz="1200" b="1" dirty="0"/>
        </a:p>
      </dgm:t>
    </dgm:pt>
    <dgm:pt modelId="{A5FE700D-545B-44A0-8BCC-F6BC780B7ABD}" type="parTrans" cxnId="{5A085BAE-B52A-44AC-87D3-476231877450}">
      <dgm:prSet/>
      <dgm:spPr/>
      <dgm:t>
        <a:bodyPr/>
        <a:lstStyle/>
        <a:p>
          <a:endParaRPr lang="en-US"/>
        </a:p>
      </dgm:t>
    </dgm:pt>
    <dgm:pt modelId="{03E540D4-2524-4EB5-838F-10BDAFD9D7DC}" type="sibTrans" cxnId="{5A085BAE-B52A-44AC-87D3-476231877450}">
      <dgm:prSet/>
      <dgm:spPr/>
      <dgm:t>
        <a:bodyPr/>
        <a:lstStyle/>
        <a:p>
          <a:endParaRPr lang="en-US"/>
        </a:p>
      </dgm:t>
    </dgm:pt>
    <dgm:pt modelId="{1FEDA259-6357-4FE5-A546-6D3CC561ACA9}">
      <dgm:prSet phldrT="[Text]" custT="1"/>
      <dgm:spPr/>
      <dgm:t>
        <a:bodyPr/>
        <a:lstStyle/>
        <a:p>
          <a:r>
            <a:rPr lang="en-US" sz="1000" dirty="0" smtClean="0"/>
            <a:t>The Hystrix Dashboard displays the health of each circuit breaker.</a:t>
          </a:r>
          <a:endParaRPr lang="en-US" sz="1000" dirty="0"/>
        </a:p>
      </dgm:t>
    </dgm:pt>
    <dgm:pt modelId="{3A938D89-26F7-48C3-B6A1-01303B190FA7}" type="parTrans" cxnId="{FFB6CD07-FFEA-419F-AC37-1A191183877B}">
      <dgm:prSet/>
      <dgm:spPr/>
      <dgm:t>
        <a:bodyPr/>
        <a:lstStyle/>
        <a:p>
          <a:endParaRPr lang="en-US"/>
        </a:p>
      </dgm:t>
    </dgm:pt>
    <dgm:pt modelId="{D1B4D88B-7F07-4498-A667-759903538E6A}" type="sibTrans" cxnId="{FFB6CD07-FFEA-419F-AC37-1A191183877B}">
      <dgm:prSet/>
      <dgm:spPr/>
      <dgm:t>
        <a:bodyPr/>
        <a:lstStyle/>
        <a:p>
          <a:endParaRPr lang="en-US"/>
        </a:p>
      </dgm:t>
    </dgm:pt>
    <dgm:pt modelId="{80A0E114-9DFF-403C-81E2-3F0E4960D625}">
      <dgm:prSet phldrT="[Text]" custT="1"/>
      <dgm:spPr/>
      <dgm:t>
        <a:bodyPr/>
        <a:lstStyle/>
        <a:p>
          <a:r>
            <a:rPr lang="en-US" sz="1200" b="1" dirty="0" smtClean="0"/>
            <a:t>Sleuth/</a:t>
          </a:r>
          <a:r>
            <a:rPr lang="en-US" sz="1200" b="1" dirty="0" err="1" smtClean="0"/>
            <a:t>Zipkin</a:t>
          </a:r>
          <a:endParaRPr lang="en-US" sz="1200" b="1" dirty="0"/>
        </a:p>
      </dgm:t>
    </dgm:pt>
    <dgm:pt modelId="{0CAA2D7D-D02B-4D5F-AE56-3C67F57F5D12}" type="parTrans" cxnId="{08491748-24C0-4DE9-AA27-A049D2E0BC58}">
      <dgm:prSet/>
      <dgm:spPr/>
      <dgm:t>
        <a:bodyPr/>
        <a:lstStyle/>
        <a:p>
          <a:endParaRPr lang="en-US"/>
        </a:p>
      </dgm:t>
    </dgm:pt>
    <dgm:pt modelId="{969C4BC4-4DE3-405C-AAE6-A8C4719C5D10}" type="sibTrans" cxnId="{08491748-24C0-4DE9-AA27-A049D2E0BC58}">
      <dgm:prSet/>
      <dgm:spPr/>
      <dgm:t>
        <a:bodyPr/>
        <a:lstStyle/>
        <a:p>
          <a:endParaRPr lang="en-US"/>
        </a:p>
      </dgm:t>
    </dgm:pt>
    <dgm:pt modelId="{D1592991-79D3-47A3-9813-8BE9CEDF2BFD}">
      <dgm:prSet phldrT="[Text]" custT="1"/>
      <dgm:spPr/>
      <dgm:t>
        <a:bodyPr/>
        <a:lstStyle/>
        <a:p>
          <a:r>
            <a:rPr lang="en-US" sz="1000" dirty="0" smtClean="0"/>
            <a:t> Distributed service request tracing system</a:t>
          </a:r>
          <a:endParaRPr lang="en-US" sz="1000" dirty="0"/>
        </a:p>
      </dgm:t>
    </dgm:pt>
    <dgm:pt modelId="{F9AB81CE-5C3B-41BD-A8C4-E0DFC3C64502}" type="parTrans" cxnId="{134CC1BB-F8D5-4D7C-9949-C6E66D86308B}">
      <dgm:prSet/>
      <dgm:spPr/>
      <dgm:t>
        <a:bodyPr/>
        <a:lstStyle/>
        <a:p>
          <a:endParaRPr lang="en-US"/>
        </a:p>
      </dgm:t>
    </dgm:pt>
    <dgm:pt modelId="{08B430FA-74C6-4649-B9CA-595432D4817F}" type="sibTrans" cxnId="{134CC1BB-F8D5-4D7C-9949-C6E66D86308B}">
      <dgm:prSet/>
      <dgm:spPr/>
      <dgm:t>
        <a:bodyPr/>
        <a:lstStyle/>
        <a:p>
          <a:endParaRPr lang="en-US"/>
        </a:p>
      </dgm:t>
    </dgm:pt>
    <dgm:pt modelId="{CF2409F3-43D6-43B6-91E4-F5570E51710A}">
      <dgm:prSet phldrT="[Text]" custT="1"/>
      <dgm:spPr/>
      <dgm:t>
        <a:bodyPr/>
        <a:lstStyle/>
        <a:p>
          <a:r>
            <a:rPr lang="en-US" sz="1000" dirty="0" smtClean="0"/>
            <a:t>Fail fast and rapid recovery</a:t>
          </a:r>
          <a:endParaRPr lang="en-US" sz="1000" dirty="0"/>
        </a:p>
      </dgm:t>
    </dgm:pt>
    <dgm:pt modelId="{CF3C80BF-D202-4BF9-AE70-2C6B1973AFB7}" type="parTrans" cxnId="{B45E15E0-22AD-4E1A-91DE-634B7B22DD69}">
      <dgm:prSet/>
      <dgm:spPr/>
      <dgm:t>
        <a:bodyPr/>
        <a:lstStyle/>
        <a:p>
          <a:endParaRPr lang="en-US"/>
        </a:p>
      </dgm:t>
    </dgm:pt>
    <dgm:pt modelId="{157CA783-B858-4B60-8D01-AD3390BCC3FC}" type="sibTrans" cxnId="{B45E15E0-22AD-4E1A-91DE-634B7B22DD69}">
      <dgm:prSet/>
      <dgm:spPr/>
      <dgm:t>
        <a:bodyPr/>
        <a:lstStyle/>
        <a:p>
          <a:endParaRPr lang="en-US"/>
        </a:p>
      </dgm:t>
    </dgm:pt>
    <dgm:pt modelId="{B9DFA27D-0CF8-469E-A9AD-DE9120E517D7}">
      <dgm:prSet phldrT="[Text]" custT="1"/>
      <dgm:spPr/>
      <dgm:t>
        <a:bodyPr/>
        <a:lstStyle/>
        <a:p>
          <a:r>
            <a:rPr lang="en-US" sz="1200" b="1" dirty="0" smtClean="0"/>
            <a:t>Ribbon</a:t>
          </a:r>
          <a:r>
            <a:rPr lang="en-US" sz="1800" dirty="0" smtClean="0"/>
            <a:t> </a:t>
          </a:r>
          <a:r>
            <a:rPr lang="en-US" sz="1200" b="1" dirty="0" smtClean="0"/>
            <a:t>Client</a:t>
          </a:r>
          <a:endParaRPr lang="en-US" sz="1200" b="1" dirty="0"/>
        </a:p>
      </dgm:t>
    </dgm:pt>
    <dgm:pt modelId="{7E318826-ED0A-4A7F-B86C-C13498480340}" type="parTrans" cxnId="{334460C9-0E9C-40E0-A767-5AA7A6DDE62B}">
      <dgm:prSet/>
      <dgm:spPr/>
      <dgm:t>
        <a:bodyPr/>
        <a:lstStyle/>
        <a:p>
          <a:endParaRPr lang="en-US"/>
        </a:p>
      </dgm:t>
    </dgm:pt>
    <dgm:pt modelId="{4536513D-D718-44EE-9825-761351FABC02}" type="sibTrans" cxnId="{334460C9-0E9C-40E0-A767-5AA7A6DDE62B}">
      <dgm:prSet/>
      <dgm:spPr/>
      <dgm:t>
        <a:bodyPr/>
        <a:lstStyle/>
        <a:p>
          <a:endParaRPr lang="en-US"/>
        </a:p>
      </dgm:t>
    </dgm:pt>
    <dgm:pt modelId="{7F692C8B-BAD2-40D6-A66C-A1FFED1CC2C5}">
      <dgm:prSet phldrT="[Text]" custT="1"/>
      <dgm:spPr/>
      <dgm:t>
        <a:bodyPr/>
        <a:lstStyle/>
        <a:p>
          <a:r>
            <a:rPr lang="en-US" sz="1000" dirty="0" smtClean="0"/>
            <a:t>It is a client side load balancer</a:t>
          </a:r>
          <a:endParaRPr lang="en-US" sz="1000" dirty="0"/>
        </a:p>
      </dgm:t>
    </dgm:pt>
    <dgm:pt modelId="{D479E791-814C-48BD-BC2B-AF18EF3C71EE}" type="parTrans" cxnId="{86318789-DF6E-4DD9-AE9A-A7255EB1F842}">
      <dgm:prSet/>
      <dgm:spPr/>
      <dgm:t>
        <a:bodyPr/>
        <a:lstStyle/>
        <a:p>
          <a:endParaRPr lang="en-US"/>
        </a:p>
      </dgm:t>
    </dgm:pt>
    <dgm:pt modelId="{2311A86C-3808-4562-9050-FD6A7A63545E}" type="sibTrans" cxnId="{86318789-DF6E-4DD9-AE9A-A7255EB1F842}">
      <dgm:prSet/>
      <dgm:spPr/>
      <dgm:t>
        <a:bodyPr/>
        <a:lstStyle/>
        <a:p>
          <a:endParaRPr lang="en-US"/>
        </a:p>
      </dgm:t>
    </dgm:pt>
    <dgm:pt modelId="{491E99C5-B65C-4C10-9B91-9A529B8FF8A1}" type="pres">
      <dgm:prSet presAssocID="{349A0DB4-33B4-4239-9963-F2A749984CF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AE1C10A-41E0-41FD-9352-D0D3C84178E8}" type="pres">
      <dgm:prSet presAssocID="{046857EE-EA50-421D-B8D8-D293D32EBED8}" presName="linNode" presStyleCnt="0"/>
      <dgm:spPr/>
    </dgm:pt>
    <dgm:pt modelId="{79F3A793-6F1A-4E49-ACC9-E21A05CC0E46}" type="pres">
      <dgm:prSet presAssocID="{046857EE-EA50-421D-B8D8-D293D32EBED8}" presName="parentText" presStyleLbl="node1" presStyleIdx="0" presStyleCnt="8" custScaleX="5047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D47CF6-A73F-4957-BC59-BD3F2760740D}" type="pres">
      <dgm:prSet presAssocID="{046857EE-EA50-421D-B8D8-D293D32EBED8}" presName="descendantText" presStyleLbl="alignAccFollowNode1" presStyleIdx="0" presStyleCnt="8" custScaleX="1260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8DCC0C-3B02-45B0-965C-6CCF0D0B57F1}" type="pres">
      <dgm:prSet presAssocID="{70F9E659-2279-442A-8FB6-8395D804B93D}" presName="sp" presStyleCnt="0"/>
      <dgm:spPr/>
    </dgm:pt>
    <dgm:pt modelId="{B1220CBB-8C2F-4A15-B770-315B6656944B}" type="pres">
      <dgm:prSet presAssocID="{6AB260F1-4155-4A1E-B583-171862BEE883}" presName="linNode" presStyleCnt="0"/>
      <dgm:spPr/>
    </dgm:pt>
    <dgm:pt modelId="{5C449367-1CAC-4420-BEAA-FE205C84FFEB}" type="pres">
      <dgm:prSet presAssocID="{6AB260F1-4155-4A1E-B583-171862BEE883}" presName="parentText" presStyleLbl="node1" presStyleIdx="1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1D8D64-03A1-4CE3-AD7B-B785D7DCBAD9}" type="pres">
      <dgm:prSet presAssocID="{6AB260F1-4155-4A1E-B583-171862BEE883}" presName="descendantText" presStyleLbl="alignAccFollowNode1" presStyleIdx="1" presStyleCnt="8" custScaleX="126009" custLinFactNeighborX="430" custLinFactNeighborY="92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C68064-5908-4CDE-B403-06D73575B43C}" type="pres">
      <dgm:prSet presAssocID="{F565E595-3FD6-46E5-8844-C6D90B1A2D52}" presName="sp" presStyleCnt="0"/>
      <dgm:spPr/>
    </dgm:pt>
    <dgm:pt modelId="{F846C534-BFD9-434A-B43D-E1E3D5FA564A}" type="pres">
      <dgm:prSet presAssocID="{196A86C3-55CF-449D-8DEB-BE18DF61482D}" presName="linNode" presStyleCnt="0"/>
      <dgm:spPr/>
    </dgm:pt>
    <dgm:pt modelId="{CA3869C7-3D5A-4093-A653-F98B2DD9516E}" type="pres">
      <dgm:prSet presAssocID="{196A86C3-55CF-449D-8DEB-BE18DF61482D}" presName="parentText" presStyleLbl="node1" presStyleIdx="2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DA5678-5DE9-47E1-9A8A-4E758AB665C3}" type="pres">
      <dgm:prSet presAssocID="{196A86C3-55CF-449D-8DEB-BE18DF61482D}" presName="descendantText" presStyleLbl="alignAccFollowNode1" presStyleIdx="2" presStyleCnt="8" custScaleX="1260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642E87-1EC0-4FFB-B7EC-ECE59ABB886F}" type="pres">
      <dgm:prSet presAssocID="{9079C8B2-9362-4FE7-8841-8357837340A4}" presName="sp" presStyleCnt="0"/>
      <dgm:spPr/>
    </dgm:pt>
    <dgm:pt modelId="{39A3E126-B82D-4BAA-8C95-04DBAAEC1BBD}" type="pres">
      <dgm:prSet presAssocID="{F2D661BB-2080-4085-B2F4-01D77DDD6A9E}" presName="linNode" presStyleCnt="0"/>
      <dgm:spPr/>
    </dgm:pt>
    <dgm:pt modelId="{6D6E7F05-936D-4550-8F6A-A44AB5FA2B2E}" type="pres">
      <dgm:prSet presAssocID="{F2D661BB-2080-4085-B2F4-01D77DDD6A9E}" presName="parentText" presStyleLbl="node1" presStyleIdx="3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6510C9-D720-46C1-A242-8D3E51D89011}" type="pres">
      <dgm:prSet presAssocID="{F2D661BB-2080-4085-B2F4-01D77DDD6A9E}" presName="descendantText" presStyleLbl="alignAccFollowNode1" presStyleIdx="3" presStyleCnt="8" custScaleX="125695" custLinFactNeighborX="5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15109F-5D9A-4CE9-92B1-605C2CFEB055}" type="pres">
      <dgm:prSet presAssocID="{EBF0E5A3-6CBF-4106-AC93-96BAF2236B65}" presName="sp" presStyleCnt="0"/>
      <dgm:spPr/>
    </dgm:pt>
    <dgm:pt modelId="{0D3BEFA7-6E70-4154-920B-E6336A5CD229}" type="pres">
      <dgm:prSet presAssocID="{C503058F-4DF2-48DD-A61C-B73873AA8A3C}" presName="linNode" presStyleCnt="0"/>
      <dgm:spPr/>
    </dgm:pt>
    <dgm:pt modelId="{119F3AF5-50D8-4CD1-BF61-009A25F18620}" type="pres">
      <dgm:prSet presAssocID="{C503058F-4DF2-48DD-A61C-B73873AA8A3C}" presName="parentText" presStyleLbl="node1" presStyleIdx="4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00B3A7-60F1-48F4-943F-974B024D79C2}" type="pres">
      <dgm:prSet presAssocID="{C503058F-4DF2-48DD-A61C-B73873AA8A3C}" presName="descendantText" presStyleLbl="alignAccFollowNode1" presStyleIdx="4" presStyleCnt="8" custScaleX="1259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357E1B-B225-4479-9A32-509B8878285F}" type="pres">
      <dgm:prSet presAssocID="{0614A2A9-5406-4893-8C98-93701B6BB4F8}" presName="sp" presStyleCnt="0"/>
      <dgm:spPr/>
    </dgm:pt>
    <dgm:pt modelId="{8F67EED5-8A19-4109-BECA-A20383839930}" type="pres">
      <dgm:prSet presAssocID="{0540B764-94CE-4DF7-9789-F6ED5DCE3594}" presName="linNode" presStyleCnt="0"/>
      <dgm:spPr/>
    </dgm:pt>
    <dgm:pt modelId="{12B2B7B1-5662-478D-AF96-9807BA624C1F}" type="pres">
      <dgm:prSet presAssocID="{0540B764-94CE-4DF7-9789-F6ED5DCE3594}" presName="parentText" presStyleLbl="node1" presStyleIdx="5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A26A56-0C0D-40DE-99C9-6CD997171D91}" type="pres">
      <dgm:prSet presAssocID="{0540B764-94CE-4DF7-9789-F6ED5DCE3594}" presName="descendantText" presStyleLbl="alignAccFollowNode1" presStyleIdx="5" presStyleCnt="8" custScaleX="12611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C04940-1132-4894-8E79-C580A6951F31}" type="pres">
      <dgm:prSet presAssocID="{03E540D4-2524-4EB5-838F-10BDAFD9D7DC}" presName="sp" presStyleCnt="0"/>
      <dgm:spPr/>
    </dgm:pt>
    <dgm:pt modelId="{177CDE09-01DA-4EE0-B7A4-A40E2EDE6FB6}" type="pres">
      <dgm:prSet presAssocID="{B9DFA27D-0CF8-469E-A9AD-DE9120E517D7}" presName="linNode" presStyleCnt="0"/>
      <dgm:spPr/>
    </dgm:pt>
    <dgm:pt modelId="{1DEB945A-18ED-4BC7-AADC-6153E54828A4}" type="pres">
      <dgm:prSet presAssocID="{B9DFA27D-0CF8-469E-A9AD-DE9120E517D7}" presName="parentText" presStyleLbl="node1" presStyleIdx="6" presStyleCnt="8" custScaleX="5047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1C9751-AA78-4EFD-8F4E-E3751273769C}" type="pres">
      <dgm:prSet presAssocID="{B9DFA27D-0CF8-469E-A9AD-DE9120E517D7}" presName="descendantText" presStyleLbl="alignAccFollowNode1" presStyleIdx="6" presStyleCnt="8" custScaleX="125695" custLinFactNeighborX="2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2BD04C-71C5-4044-BCC1-683694831F08}" type="pres">
      <dgm:prSet presAssocID="{4536513D-D718-44EE-9825-761351FABC02}" presName="sp" presStyleCnt="0"/>
      <dgm:spPr/>
    </dgm:pt>
    <dgm:pt modelId="{7DEFCA55-796F-4597-846B-B64FB86D3CEB}" type="pres">
      <dgm:prSet presAssocID="{80A0E114-9DFF-403C-81E2-3F0E4960D625}" presName="linNode" presStyleCnt="0"/>
      <dgm:spPr/>
    </dgm:pt>
    <dgm:pt modelId="{F4FBA015-194E-42DE-95FA-BA92E0777DE1}" type="pres">
      <dgm:prSet presAssocID="{80A0E114-9DFF-403C-81E2-3F0E4960D625}" presName="parentText" presStyleLbl="node1" presStyleIdx="7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237B8B-44DD-4303-815E-B7FDCF76580E}" type="pres">
      <dgm:prSet presAssocID="{80A0E114-9DFF-403C-81E2-3F0E4960D625}" presName="descendantText" presStyleLbl="alignAccFollowNode1" presStyleIdx="7" presStyleCnt="8" custScaleX="1260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7A1C6A2-4AC6-4EE8-B511-0BA99D5B2226}" type="presOf" srcId="{196A86C3-55CF-449D-8DEB-BE18DF61482D}" destId="{CA3869C7-3D5A-4093-A653-F98B2DD9516E}" srcOrd="0" destOrd="0" presId="urn:microsoft.com/office/officeart/2005/8/layout/vList5"/>
    <dgm:cxn modelId="{E3A07661-7FC8-4E01-9EAC-D2681E900B0B}" type="presOf" srcId="{8A2B460C-D136-4807-AFEF-8C7FB482D362}" destId="{1FD47CF6-A73F-4957-BC59-BD3F2760740D}" srcOrd="0" destOrd="0" presId="urn:microsoft.com/office/officeart/2005/8/layout/vList5"/>
    <dgm:cxn modelId="{E83FFFAD-E748-41A4-BCD5-BA5C500D5A5A}" srcId="{349A0DB4-33B4-4239-9963-F2A749984CF1}" destId="{196A86C3-55CF-449D-8DEB-BE18DF61482D}" srcOrd="2" destOrd="0" parTransId="{67140E3B-658D-4C7A-8BC4-AA726CA39DE2}" sibTransId="{9079C8B2-9362-4FE7-8841-8357837340A4}"/>
    <dgm:cxn modelId="{A61FA3F5-BD5F-4D71-8C5B-59F5BFF46D3C}" type="presOf" srcId="{349A0DB4-33B4-4239-9963-F2A749984CF1}" destId="{491E99C5-B65C-4C10-9B91-9A529B8FF8A1}" srcOrd="0" destOrd="0" presId="urn:microsoft.com/office/officeart/2005/8/layout/vList5"/>
    <dgm:cxn modelId="{CB14928F-2F0C-4058-92D6-CC5B09CEA14A}" type="presOf" srcId="{B9DFA27D-0CF8-469E-A9AD-DE9120E517D7}" destId="{1DEB945A-18ED-4BC7-AADC-6153E54828A4}" srcOrd="0" destOrd="0" presId="urn:microsoft.com/office/officeart/2005/8/layout/vList5"/>
    <dgm:cxn modelId="{D40FBC68-A985-4E1F-9F9B-2F56EC2460B8}" type="presOf" srcId="{D1592991-79D3-47A3-9813-8BE9CEDF2BFD}" destId="{DB237B8B-44DD-4303-815E-B7FDCF76580E}" srcOrd="0" destOrd="0" presId="urn:microsoft.com/office/officeart/2005/8/layout/vList5"/>
    <dgm:cxn modelId="{8DFC4CEC-A970-43E3-83E8-56568E842EC6}" type="presOf" srcId="{CA653B57-6EB2-467F-B944-BED6AF0FB0F9}" destId="{1FD47CF6-A73F-4957-BC59-BD3F2760740D}" srcOrd="0" destOrd="1" presId="urn:microsoft.com/office/officeart/2005/8/layout/vList5"/>
    <dgm:cxn modelId="{86318789-DF6E-4DD9-AE9A-A7255EB1F842}" srcId="{B9DFA27D-0CF8-469E-A9AD-DE9120E517D7}" destId="{7F692C8B-BAD2-40D6-A66C-A1FFED1CC2C5}" srcOrd="0" destOrd="0" parTransId="{D479E791-814C-48BD-BC2B-AF18EF3C71EE}" sibTransId="{2311A86C-3808-4562-9050-FD6A7A63545E}"/>
    <dgm:cxn modelId="{4F17ECC7-0AAC-4B30-9601-F3DB6CBD28FF}" srcId="{349A0DB4-33B4-4239-9963-F2A749984CF1}" destId="{F2D661BB-2080-4085-B2F4-01D77DDD6A9E}" srcOrd="3" destOrd="0" parTransId="{AA3117F6-1C59-4A8B-A872-849021D722DC}" sibTransId="{EBF0E5A3-6CBF-4106-AC93-96BAF2236B65}"/>
    <dgm:cxn modelId="{3AE85A6E-2BBE-4CCB-815E-F9E0F385E6F5}" srcId="{349A0DB4-33B4-4239-9963-F2A749984CF1}" destId="{046857EE-EA50-421D-B8D8-D293D32EBED8}" srcOrd="0" destOrd="0" parTransId="{B29E628F-09EF-40AB-A829-CEB77BEC19C9}" sibTransId="{70F9E659-2279-442A-8FB6-8395D804B93D}"/>
    <dgm:cxn modelId="{FFB6CD07-FFEA-419F-AC37-1A191183877B}" srcId="{0540B764-94CE-4DF7-9789-F6ED5DCE3594}" destId="{1FEDA259-6357-4FE5-A546-6D3CC561ACA9}" srcOrd="0" destOrd="0" parTransId="{3A938D89-26F7-48C3-B6A1-01303B190FA7}" sibTransId="{D1B4D88B-7F07-4498-A667-759903538E6A}"/>
    <dgm:cxn modelId="{134CC1BB-F8D5-4D7C-9949-C6E66D86308B}" srcId="{80A0E114-9DFF-403C-81E2-3F0E4960D625}" destId="{D1592991-79D3-47A3-9813-8BE9CEDF2BFD}" srcOrd="0" destOrd="0" parTransId="{F9AB81CE-5C3B-41BD-A8C4-E0DFC3C64502}" sibTransId="{08B430FA-74C6-4649-B9CA-595432D4817F}"/>
    <dgm:cxn modelId="{586DFFA5-1437-42CF-8B0D-DAF13FAC5655}" type="presOf" srcId="{FC0B5751-CA4D-4918-83B8-D4FFBAFB9B12}" destId="{A86510C9-D720-46C1-A242-8D3E51D89011}" srcOrd="0" destOrd="0" presId="urn:microsoft.com/office/officeart/2005/8/layout/vList5"/>
    <dgm:cxn modelId="{327717FA-3043-4B62-BC5C-6FCDC17D767F}" type="presOf" srcId="{CF2409F3-43D6-43B6-91E4-F5570E51710A}" destId="{A86510C9-D720-46C1-A242-8D3E51D89011}" srcOrd="0" destOrd="1" presId="urn:microsoft.com/office/officeart/2005/8/layout/vList5"/>
    <dgm:cxn modelId="{3B1BC695-8A6C-4A75-9E25-A12778EC28F0}" srcId="{196A86C3-55CF-449D-8DEB-BE18DF61482D}" destId="{FC208414-0AC3-42C4-9F44-053EB80ED807}" srcOrd="0" destOrd="0" parTransId="{1DF167C6-EC8B-49A0-BA2A-96A7DC59DBAF}" sibTransId="{D4B430AC-896C-4FF2-A6FD-32586AFB1509}"/>
    <dgm:cxn modelId="{D3CC0942-AD09-4148-B70A-3C0D0E114B85}" srcId="{349A0DB4-33B4-4239-9963-F2A749984CF1}" destId="{6AB260F1-4155-4A1E-B583-171862BEE883}" srcOrd="1" destOrd="0" parTransId="{6D0F1FD7-6BB0-4078-96B1-357EB5FC202D}" sibTransId="{F565E595-3FD6-46E5-8844-C6D90B1A2D52}"/>
    <dgm:cxn modelId="{84E5166E-C1C4-445B-95DE-E039B5AEBEFC}" type="presOf" srcId="{046857EE-EA50-421D-B8D8-D293D32EBED8}" destId="{79F3A793-6F1A-4E49-ACC9-E21A05CC0E46}" srcOrd="0" destOrd="0" presId="urn:microsoft.com/office/officeart/2005/8/layout/vList5"/>
    <dgm:cxn modelId="{4D8E9132-4AE5-4CA1-BBCC-13771C08A7DF}" type="presOf" srcId="{0540B764-94CE-4DF7-9789-F6ED5DCE3594}" destId="{12B2B7B1-5662-478D-AF96-9807BA624C1F}" srcOrd="0" destOrd="0" presId="urn:microsoft.com/office/officeart/2005/8/layout/vList5"/>
    <dgm:cxn modelId="{5A085BAE-B52A-44AC-87D3-476231877450}" srcId="{349A0DB4-33B4-4239-9963-F2A749984CF1}" destId="{0540B764-94CE-4DF7-9789-F6ED5DCE3594}" srcOrd="5" destOrd="0" parTransId="{A5FE700D-545B-44A0-8BCC-F6BC780B7ABD}" sibTransId="{03E540D4-2524-4EB5-838F-10BDAFD9D7DC}"/>
    <dgm:cxn modelId="{F7C24F75-361C-4EBE-8D58-80BC61772FBF}" srcId="{6AB260F1-4155-4A1E-B583-171862BEE883}" destId="{E7B3C492-7196-4060-8646-3F8694241075}" srcOrd="0" destOrd="0" parTransId="{F7F96F36-424A-4120-B721-2199C713A878}" sibTransId="{38129BC1-DE8C-467F-9F91-A553EF50DA24}"/>
    <dgm:cxn modelId="{F8814F72-7E86-4E3E-B6AD-D7BB04B9B3B7}" type="presOf" srcId="{1FEDA259-6357-4FE5-A546-6D3CC561ACA9}" destId="{92A26A56-0C0D-40DE-99C9-6CD997171D91}" srcOrd="0" destOrd="0" presId="urn:microsoft.com/office/officeart/2005/8/layout/vList5"/>
    <dgm:cxn modelId="{334460C9-0E9C-40E0-A767-5AA7A6DDE62B}" srcId="{349A0DB4-33B4-4239-9963-F2A749984CF1}" destId="{B9DFA27D-0CF8-469E-A9AD-DE9120E517D7}" srcOrd="6" destOrd="0" parTransId="{7E318826-ED0A-4A7F-B86C-C13498480340}" sibTransId="{4536513D-D718-44EE-9825-761351FABC02}"/>
    <dgm:cxn modelId="{2848DAC7-A149-428A-9170-1D94D5BCB980}" type="presOf" srcId="{7F692C8B-BAD2-40D6-A66C-A1FFED1CC2C5}" destId="{791C9751-AA78-4EFD-8F4E-E3751273769C}" srcOrd="0" destOrd="0" presId="urn:microsoft.com/office/officeart/2005/8/layout/vList5"/>
    <dgm:cxn modelId="{1188CF27-7270-4526-BC5C-376E9F66AB4E}" type="presOf" srcId="{F2D661BB-2080-4085-B2F4-01D77DDD6A9E}" destId="{6D6E7F05-936D-4550-8F6A-A44AB5FA2B2E}" srcOrd="0" destOrd="0" presId="urn:microsoft.com/office/officeart/2005/8/layout/vList5"/>
    <dgm:cxn modelId="{08491748-24C0-4DE9-AA27-A049D2E0BC58}" srcId="{349A0DB4-33B4-4239-9963-F2A749984CF1}" destId="{80A0E114-9DFF-403C-81E2-3F0E4960D625}" srcOrd="7" destOrd="0" parTransId="{0CAA2D7D-D02B-4D5F-AE56-3C67F57F5D12}" sibTransId="{969C4BC4-4DE3-405C-AAE6-A8C4719C5D10}"/>
    <dgm:cxn modelId="{579D09AD-B27A-4CBB-944E-42C7FA80EC5E}" srcId="{046857EE-EA50-421D-B8D8-D293D32EBED8}" destId="{CA653B57-6EB2-467F-B944-BED6AF0FB0F9}" srcOrd="1" destOrd="0" parTransId="{D2AE40B7-0482-40E2-86F6-0606E1436815}" sibTransId="{4BD10C31-8F09-4728-802A-52A7741622E4}"/>
    <dgm:cxn modelId="{18C23C69-1FF6-4030-991E-02871BB87A13}" type="presOf" srcId="{FC208414-0AC3-42C4-9F44-053EB80ED807}" destId="{46DA5678-5DE9-47E1-9A8A-4E758AB665C3}" srcOrd="0" destOrd="0" presId="urn:microsoft.com/office/officeart/2005/8/layout/vList5"/>
    <dgm:cxn modelId="{C64F5F48-E774-4ED2-8492-13BACE8EBD0A}" srcId="{349A0DB4-33B4-4239-9963-F2A749984CF1}" destId="{C503058F-4DF2-48DD-A61C-B73873AA8A3C}" srcOrd="4" destOrd="0" parTransId="{63DFB790-5ED4-46F3-9373-596E9D14E73B}" sibTransId="{0614A2A9-5406-4893-8C98-93701B6BB4F8}"/>
    <dgm:cxn modelId="{82C3B383-A47F-4AB2-8B00-C288EF95DD30}" srcId="{046857EE-EA50-421D-B8D8-D293D32EBED8}" destId="{8A2B460C-D136-4807-AFEF-8C7FB482D362}" srcOrd="0" destOrd="0" parTransId="{D0A71D73-FB98-4A48-94F2-4E3C183747C6}" sibTransId="{0B8CFC41-0F89-43B9-9139-A21BED08968F}"/>
    <dgm:cxn modelId="{190FA888-03FD-4C2A-982C-A7B63EFE6BA6}" type="presOf" srcId="{C503058F-4DF2-48DD-A61C-B73873AA8A3C}" destId="{119F3AF5-50D8-4CD1-BF61-009A25F18620}" srcOrd="0" destOrd="0" presId="urn:microsoft.com/office/officeart/2005/8/layout/vList5"/>
    <dgm:cxn modelId="{00D1BA12-AB60-48D6-9B0A-FDE105E281F4}" srcId="{F2D661BB-2080-4085-B2F4-01D77DDD6A9E}" destId="{FC0B5751-CA4D-4918-83B8-D4FFBAFB9B12}" srcOrd="0" destOrd="0" parTransId="{A0CC7114-96F1-4A38-8134-58FC2518C168}" sibTransId="{3DED340E-0523-43A8-8DE0-5495DB890562}"/>
    <dgm:cxn modelId="{12A9E8F4-FEDA-4390-A66B-C76047EA8761}" srcId="{C503058F-4DF2-48DD-A61C-B73873AA8A3C}" destId="{E4D98BA8-7ACF-420E-8EFF-4F364F941904}" srcOrd="0" destOrd="0" parTransId="{EC776C8F-CE89-4D7E-A7F1-F76E493C00EA}" sibTransId="{A8E4C195-F5C5-4135-9F5A-6B35561755A7}"/>
    <dgm:cxn modelId="{5D56526D-8371-4FED-9C9D-92516647CB00}" type="presOf" srcId="{E7B3C492-7196-4060-8646-3F8694241075}" destId="{DC1D8D64-03A1-4CE3-AD7B-B785D7DCBAD9}" srcOrd="0" destOrd="0" presId="urn:microsoft.com/office/officeart/2005/8/layout/vList5"/>
    <dgm:cxn modelId="{DEB61123-F537-4C6D-97DB-0ADC45304CD7}" type="presOf" srcId="{80A0E114-9DFF-403C-81E2-3F0E4960D625}" destId="{F4FBA015-194E-42DE-95FA-BA92E0777DE1}" srcOrd="0" destOrd="0" presId="urn:microsoft.com/office/officeart/2005/8/layout/vList5"/>
    <dgm:cxn modelId="{B45E15E0-22AD-4E1A-91DE-634B7B22DD69}" srcId="{F2D661BB-2080-4085-B2F4-01D77DDD6A9E}" destId="{CF2409F3-43D6-43B6-91E4-F5570E51710A}" srcOrd="1" destOrd="0" parTransId="{CF3C80BF-D202-4BF9-AE70-2C6B1973AFB7}" sibTransId="{157CA783-B858-4B60-8D01-AD3390BCC3FC}"/>
    <dgm:cxn modelId="{A5EBF7FE-52D4-480B-A08B-6C4A7C4E813D}" type="presOf" srcId="{E4D98BA8-7ACF-420E-8EFF-4F364F941904}" destId="{4700B3A7-60F1-48F4-943F-974B024D79C2}" srcOrd="0" destOrd="0" presId="urn:microsoft.com/office/officeart/2005/8/layout/vList5"/>
    <dgm:cxn modelId="{DB3D4ABA-E137-4747-963B-BFB89A5571E3}" type="presOf" srcId="{6AB260F1-4155-4A1E-B583-171862BEE883}" destId="{5C449367-1CAC-4420-BEAA-FE205C84FFEB}" srcOrd="0" destOrd="0" presId="urn:microsoft.com/office/officeart/2005/8/layout/vList5"/>
    <dgm:cxn modelId="{2C620812-DC33-450D-B98B-ADC8750FAD5C}" type="presParOf" srcId="{491E99C5-B65C-4C10-9B91-9A529B8FF8A1}" destId="{BAE1C10A-41E0-41FD-9352-D0D3C84178E8}" srcOrd="0" destOrd="0" presId="urn:microsoft.com/office/officeart/2005/8/layout/vList5"/>
    <dgm:cxn modelId="{032E1229-D6E7-4D2D-9DE8-2AC56EF07177}" type="presParOf" srcId="{BAE1C10A-41E0-41FD-9352-D0D3C84178E8}" destId="{79F3A793-6F1A-4E49-ACC9-E21A05CC0E46}" srcOrd="0" destOrd="0" presId="urn:microsoft.com/office/officeart/2005/8/layout/vList5"/>
    <dgm:cxn modelId="{5E28A304-C93F-41A2-9C32-0E4F6EA50F61}" type="presParOf" srcId="{BAE1C10A-41E0-41FD-9352-D0D3C84178E8}" destId="{1FD47CF6-A73F-4957-BC59-BD3F2760740D}" srcOrd="1" destOrd="0" presId="urn:microsoft.com/office/officeart/2005/8/layout/vList5"/>
    <dgm:cxn modelId="{668772A5-CC62-4480-B2F7-EB1B0516566C}" type="presParOf" srcId="{491E99C5-B65C-4C10-9B91-9A529B8FF8A1}" destId="{FE8DCC0C-3B02-45B0-965C-6CCF0D0B57F1}" srcOrd="1" destOrd="0" presId="urn:microsoft.com/office/officeart/2005/8/layout/vList5"/>
    <dgm:cxn modelId="{B8D769F8-BF42-4F38-B322-A4AAFF56F2DF}" type="presParOf" srcId="{491E99C5-B65C-4C10-9B91-9A529B8FF8A1}" destId="{B1220CBB-8C2F-4A15-B770-315B6656944B}" srcOrd="2" destOrd="0" presId="urn:microsoft.com/office/officeart/2005/8/layout/vList5"/>
    <dgm:cxn modelId="{0D500518-D7DE-442D-B063-B878943F5B05}" type="presParOf" srcId="{B1220CBB-8C2F-4A15-B770-315B6656944B}" destId="{5C449367-1CAC-4420-BEAA-FE205C84FFEB}" srcOrd="0" destOrd="0" presId="urn:microsoft.com/office/officeart/2005/8/layout/vList5"/>
    <dgm:cxn modelId="{B2723A40-8BD9-408F-86F8-97638BC3355A}" type="presParOf" srcId="{B1220CBB-8C2F-4A15-B770-315B6656944B}" destId="{DC1D8D64-03A1-4CE3-AD7B-B785D7DCBAD9}" srcOrd="1" destOrd="0" presId="urn:microsoft.com/office/officeart/2005/8/layout/vList5"/>
    <dgm:cxn modelId="{19145BBB-864E-4745-ABEE-CCCE03469823}" type="presParOf" srcId="{491E99C5-B65C-4C10-9B91-9A529B8FF8A1}" destId="{0CC68064-5908-4CDE-B403-06D73575B43C}" srcOrd="3" destOrd="0" presId="urn:microsoft.com/office/officeart/2005/8/layout/vList5"/>
    <dgm:cxn modelId="{845133E4-5997-46FC-B8D3-0FFA3D274C97}" type="presParOf" srcId="{491E99C5-B65C-4C10-9B91-9A529B8FF8A1}" destId="{F846C534-BFD9-434A-B43D-E1E3D5FA564A}" srcOrd="4" destOrd="0" presId="urn:microsoft.com/office/officeart/2005/8/layout/vList5"/>
    <dgm:cxn modelId="{0987EC54-5032-4ED2-8591-6716DA8F4EA2}" type="presParOf" srcId="{F846C534-BFD9-434A-B43D-E1E3D5FA564A}" destId="{CA3869C7-3D5A-4093-A653-F98B2DD9516E}" srcOrd="0" destOrd="0" presId="urn:microsoft.com/office/officeart/2005/8/layout/vList5"/>
    <dgm:cxn modelId="{82C844F7-03E2-4ADA-8710-293D281B4633}" type="presParOf" srcId="{F846C534-BFD9-434A-B43D-E1E3D5FA564A}" destId="{46DA5678-5DE9-47E1-9A8A-4E758AB665C3}" srcOrd="1" destOrd="0" presId="urn:microsoft.com/office/officeart/2005/8/layout/vList5"/>
    <dgm:cxn modelId="{D3EB2C73-599C-4FBB-A69E-24503017D5E3}" type="presParOf" srcId="{491E99C5-B65C-4C10-9B91-9A529B8FF8A1}" destId="{69642E87-1EC0-4FFB-B7EC-ECE59ABB886F}" srcOrd="5" destOrd="0" presId="urn:microsoft.com/office/officeart/2005/8/layout/vList5"/>
    <dgm:cxn modelId="{0CEEE556-0588-4FAE-8A7E-3B315D70F4CB}" type="presParOf" srcId="{491E99C5-B65C-4C10-9B91-9A529B8FF8A1}" destId="{39A3E126-B82D-4BAA-8C95-04DBAAEC1BBD}" srcOrd="6" destOrd="0" presId="urn:microsoft.com/office/officeart/2005/8/layout/vList5"/>
    <dgm:cxn modelId="{B470ED09-687F-463D-A35D-6DD55D16EA63}" type="presParOf" srcId="{39A3E126-B82D-4BAA-8C95-04DBAAEC1BBD}" destId="{6D6E7F05-936D-4550-8F6A-A44AB5FA2B2E}" srcOrd="0" destOrd="0" presId="urn:microsoft.com/office/officeart/2005/8/layout/vList5"/>
    <dgm:cxn modelId="{E08F2790-C174-44E2-907F-CCAB367B66C0}" type="presParOf" srcId="{39A3E126-B82D-4BAA-8C95-04DBAAEC1BBD}" destId="{A86510C9-D720-46C1-A242-8D3E51D89011}" srcOrd="1" destOrd="0" presId="urn:microsoft.com/office/officeart/2005/8/layout/vList5"/>
    <dgm:cxn modelId="{26035682-A05F-4E8C-9030-4E3D04666910}" type="presParOf" srcId="{491E99C5-B65C-4C10-9B91-9A529B8FF8A1}" destId="{3415109F-5D9A-4CE9-92B1-605C2CFEB055}" srcOrd="7" destOrd="0" presId="urn:microsoft.com/office/officeart/2005/8/layout/vList5"/>
    <dgm:cxn modelId="{EF4F64D6-F4A1-4F04-9C6D-0420E9C7BB5E}" type="presParOf" srcId="{491E99C5-B65C-4C10-9B91-9A529B8FF8A1}" destId="{0D3BEFA7-6E70-4154-920B-E6336A5CD229}" srcOrd="8" destOrd="0" presId="urn:microsoft.com/office/officeart/2005/8/layout/vList5"/>
    <dgm:cxn modelId="{F8D88986-408B-42A6-9E1A-7620E1178A40}" type="presParOf" srcId="{0D3BEFA7-6E70-4154-920B-E6336A5CD229}" destId="{119F3AF5-50D8-4CD1-BF61-009A25F18620}" srcOrd="0" destOrd="0" presId="urn:microsoft.com/office/officeart/2005/8/layout/vList5"/>
    <dgm:cxn modelId="{F0B27BAA-5BD3-4796-A5E4-4ACB6D041203}" type="presParOf" srcId="{0D3BEFA7-6E70-4154-920B-E6336A5CD229}" destId="{4700B3A7-60F1-48F4-943F-974B024D79C2}" srcOrd="1" destOrd="0" presId="urn:microsoft.com/office/officeart/2005/8/layout/vList5"/>
    <dgm:cxn modelId="{A415972F-76E4-45C8-BDA5-DF4F238DBF80}" type="presParOf" srcId="{491E99C5-B65C-4C10-9B91-9A529B8FF8A1}" destId="{AF357E1B-B225-4479-9A32-509B8878285F}" srcOrd="9" destOrd="0" presId="urn:microsoft.com/office/officeart/2005/8/layout/vList5"/>
    <dgm:cxn modelId="{42D92DB2-E07A-45FF-980F-A1D13D801A4A}" type="presParOf" srcId="{491E99C5-B65C-4C10-9B91-9A529B8FF8A1}" destId="{8F67EED5-8A19-4109-BECA-A20383839930}" srcOrd="10" destOrd="0" presId="urn:microsoft.com/office/officeart/2005/8/layout/vList5"/>
    <dgm:cxn modelId="{0D344D0E-8A5F-428A-9DE8-E8B98D4C3D73}" type="presParOf" srcId="{8F67EED5-8A19-4109-BECA-A20383839930}" destId="{12B2B7B1-5662-478D-AF96-9807BA624C1F}" srcOrd="0" destOrd="0" presId="urn:microsoft.com/office/officeart/2005/8/layout/vList5"/>
    <dgm:cxn modelId="{1751D42D-0DF0-477A-90CE-CCA0454708FB}" type="presParOf" srcId="{8F67EED5-8A19-4109-BECA-A20383839930}" destId="{92A26A56-0C0D-40DE-99C9-6CD997171D91}" srcOrd="1" destOrd="0" presId="urn:microsoft.com/office/officeart/2005/8/layout/vList5"/>
    <dgm:cxn modelId="{7B553ED4-7804-4E74-9D69-FB36CBE85316}" type="presParOf" srcId="{491E99C5-B65C-4C10-9B91-9A529B8FF8A1}" destId="{4DC04940-1132-4894-8E79-C580A6951F31}" srcOrd="11" destOrd="0" presId="urn:microsoft.com/office/officeart/2005/8/layout/vList5"/>
    <dgm:cxn modelId="{E24E0385-DF00-40A6-A788-459A44024CEB}" type="presParOf" srcId="{491E99C5-B65C-4C10-9B91-9A529B8FF8A1}" destId="{177CDE09-01DA-4EE0-B7A4-A40E2EDE6FB6}" srcOrd="12" destOrd="0" presId="urn:microsoft.com/office/officeart/2005/8/layout/vList5"/>
    <dgm:cxn modelId="{6D6FD5F2-6592-487A-9505-68DD2AD7B947}" type="presParOf" srcId="{177CDE09-01DA-4EE0-B7A4-A40E2EDE6FB6}" destId="{1DEB945A-18ED-4BC7-AADC-6153E54828A4}" srcOrd="0" destOrd="0" presId="urn:microsoft.com/office/officeart/2005/8/layout/vList5"/>
    <dgm:cxn modelId="{ED88F37C-83B6-4929-A499-D8A65C8CCBB2}" type="presParOf" srcId="{177CDE09-01DA-4EE0-B7A4-A40E2EDE6FB6}" destId="{791C9751-AA78-4EFD-8F4E-E3751273769C}" srcOrd="1" destOrd="0" presId="urn:microsoft.com/office/officeart/2005/8/layout/vList5"/>
    <dgm:cxn modelId="{69E414FE-9A92-48B3-9626-11DC59F599FC}" type="presParOf" srcId="{491E99C5-B65C-4C10-9B91-9A529B8FF8A1}" destId="{DD2BD04C-71C5-4044-BCC1-683694831F08}" srcOrd="13" destOrd="0" presId="urn:microsoft.com/office/officeart/2005/8/layout/vList5"/>
    <dgm:cxn modelId="{6BAA11A6-DA50-479E-9F09-4765A7C74E2B}" type="presParOf" srcId="{491E99C5-B65C-4C10-9B91-9A529B8FF8A1}" destId="{7DEFCA55-796F-4597-846B-B64FB86D3CEB}" srcOrd="14" destOrd="0" presId="urn:microsoft.com/office/officeart/2005/8/layout/vList5"/>
    <dgm:cxn modelId="{E0238A51-2450-4F11-90CC-5EBCD532B94D}" type="presParOf" srcId="{7DEFCA55-796F-4597-846B-B64FB86D3CEB}" destId="{F4FBA015-194E-42DE-95FA-BA92E0777DE1}" srcOrd="0" destOrd="0" presId="urn:microsoft.com/office/officeart/2005/8/layout/vList5"/>
    <dgm:cxn modelId="{7FB30DEE-63AC-4FF0-B471-D27AAE13A6DA}" type="presParOf" srcId="{7DEFCA55-796F-4597-846B-B64FB86D3CEB}" destId="{DB237B8B-44DD-4303-815E-B7FDCF76580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AE3436-0951-4B60-A8B8-AE3BD664ACD3}">
      <dsp:nvSpPr>
        <dsp:cNvPr id="0" name=""/>
        <dsp:cNvSpPr/>
      </dsp:nvSpPr>
      <dsp:spPr>
        <a:xfrm>
          <a:off x="-6203613" y="-949060"/>
          <a:ext cx="7384521" cy="7384521"/>
        </a:xfrm>
        <a:prstGeom prst="blockArc">
          <a:avLst>
            <a:gd name="adj1" fmla="val 18900000"/>
            <a:gd name="adj2" fmla="val 2700000"/>
            <a:gd name="adj3" fmla="val 293"/>
          </a:avLst>
        </a:prstGeom>
        <a:noFill/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A75FEF-0C9C-4746-BC7A-458E3CD6364D}">
      <dsp:nvSpPr>
        <dsp:cNvPr id="0" name=""/>
        <dsp:cNvSpPr/>
      </dsp:nvSpPr>
      <dsp:spPr>
        <a:xfrm>
          <a:off x="439715" y="288913"/>
          <a:ext cx="7864632" cy="577608"/>
        </a:xfrm>
        <a:prstGeom prst="rect">
          <a:avLst/>
        </a:prstGeom>
        <a:solidFill>
          <a:srgbClr val="0070C0"/>
        </a:solidFill>
        <a:ln w="9525" cap="flat" cmpd="sng" algn="ctr">
          <a:noFill/>
          <a:prstDash val="solid"/>
        </a:ln>
        <a:effectLst>
          <a:outerShdw blurRad="40000" dist="23000" dir="5400000" rotWithShape="0">
            <a:schemeClr val="bg1">
              <a:alpha val="35000"/>
            </a:scheme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  <a:latin typeface="+mj-lt"/>
            </a:rPr>
            <a:t>Software Architecture Evolution</a:t>
          </a:r>
          <a:endParaRPr lang="en-US" sz="2400" b="0" kern="1200" dirty="0">
            <a:solidFill>
              <a:schemeClr val="bg1"/>
            </a:solidFill>
            <a:latin typeface="+mj-lt"/>
          </a:endParaRPr>
        </a:p>
      </dsp:txBody>
      <dsp:txXfrm>
        <a:off x="439715" y="288913"/>
        <a:ext cx="7864632" cy="577608"/>
      </dsp:txXfrm>
    </dsp:sp>
    <dsp:sp modelId="{89478779-017D-47E1-B731-40A823290D57}">
      <dsp:nvSpPr>
        <dsp:cNvPr id="0" name=""/>
        <dsp:cNvSpPr/>
      </dsp:nvSpPr>
      <dsp:spPr>
        <a:xfrm>
          <a:off x="117431" y="241037"/>
          <a:ext cx="644567" cy="673361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357D5D-AA78-422E-BD22-B9CF70BC59D0}">
      <dsp:nvSpPr>
        <dsp:cNvPr id="0" name=""/>
        <dsp:cNvSpPr/>
      </dsp:nvSpPr>
      <dsp:spPr>
        <a:xfrm>
          <a:off x="914837" y="1155216"/>
          <a:ext cx="7389510" cy="577608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Current Limitations/Challenges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914837" y="1155216"/>
        <a:ext cx="7389510" cy="577608"/>
      </dsp:txXfrm>
    </dsp:sp>
    <dsp:sp modelId="{063CBAA2-DB6C-4E05-853A-B37F0918D510}">
      <dsp:nvSpPr>
        <dsp:cNvPr id="0" name=""/>
        <dsp:cNvSpPr/>
      </dsp:nvSpPr>
      <dsp:spPr>
        <a:xfrm>
          <a:off x="592554" y="1107339"/>
          <a:ext cx="644567" cy="673361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08A3FF-E697-46B9-BDEA-998C4306E29F}">
      <dsp:nvSpPr>
        <dsp:cNvPr id="0" name=""/>
        <dsp:cNvSpPr/>
      </dsp:nvSpPr>
      <dsp:spPr>
        <a:xfrm>
          <a:off x="1132099" y="2021518"/>
          <a:ext cx="7172248" cy="577608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Micro services adaption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1132099" y="2021518"/>
        <a:ext cx="7172248" cy="577608"/>
      </dsp:txXfrm>
    </dsp:sp>
    <dsp:sp modelId="{0D7B75B1-1D03-40C3-BA42-9F98EAB353CA}">
      <dsp:nvSpPr>
        <dsp:cNvPr id="0" name=""/>
        <dsp:cNvSpPr/>
      </dsp:nvSpPr>
      <dsp:spPr>
        <a:xfrm>
          <a:off x="809815" y="1973642"/>
          <a:ext cx="644567" cy="673361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1AAA7E-9789-4B99-865E-D1DFA02F0665}">
      <dsp:nvSpPr>
        <dsp:cNvPr id="0" name=""/>
        <dsp:cNvSpPr/>
      </dsp:nvSpPr>
      <dsp:spPr>
        <a:xfrm>
          <a:off x="1132099" y="2887272"/>
          <a:ext cx="7172248" cy="577608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Spring Cloud Netflix ecosystem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1132099" y="2887272"/>
        <a:ext cx="7172248" cy="577608"/>
      </dsp:txXfrm>
    </dsp:sp>
    <dsp:sp modelId="{EA81834E-40E6-466A-9894-E16F8652A29B}">
      <dsp:nvSpPr>
        <dsp:cNvPr id="0" name=""/>
        <dsp:cNvSpPr/>
      </dsp:nvSpPr>
      <dsp:spPr>
        <a:xfrm>
          <a:off x="809815" y="2839396"/>
          <a:ext cx="644567" cy="673361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21F000-06F5-4A7B-A720-4B06F6EB8258}">
      <dsp:nvSpPr>
        <dsp:cNvPr id="0" name=""/>
        <dsp:cNvSpPr/>
      </dsp:nvSpPr>
      <dsp:spPr>
        <a:xfrm>
          <a:off x="914837" y="3753575"/>
          <a:ext cx="7389510" cy="577608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Example Use case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914837" y="3753575"/>
        <a:ext cx="7389510" cy="577608"/>
      </dsp:txXfrm>
    </dsp:sp>
    <dsp:sp modelId="{3A87F690-BCBB-4356-972E-EA4289DE8B37}">
      <dsp:nvSpPr>
        <dsp:cNvPr id="0" name=""/>
        <dsp:cNvSpPr/>
      </dsp:nvSpPr>
      <dsp:spPr>
        <a:xfrm>
          <a:off x="592554" y="3705698"/>
          <a:ext cx="644567" cy="673361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FACCE1-5421-4E3A-A184-3F2B4934639D}">
      <dsp:nvSpPr>
        <dsp:cNvPr id="0" name=""/>
        <dsp:cNvSpPr/>
      </dsp:nvSpPr>
      <dsp:spPr>
        <a:xfrm>
          <a:off x="439715" y="4619877"/>
          <a:ext cx="7864632" cy="577608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Questions ?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439715" y="4619877"/>
        <a:ext cx="7864632" cy="577608"/>
      </dsp:txXfrm>
    </dsp:sp>
    <dsp:sp modelId="{3DF6AE6A-751E-42E4-A518-B10AAF8551D8}">
      <dsp:nvSpPr>
        <dsp:cNvPr id="0" name=""/>
        <dsp:cNvSpPr/>
      </dsp:nvSpPr>
      <dsp:spPr>
        <a:xfrm>
          <a:off x="117431" y="4572001"/>
          <a:ext cx="644567" cy="673361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F0EE61-411E-4271-904A-2551A7D97E5B}">
      <dsp:nvSpPr>
        <dsp:cNvPr id="0" name=""/>
        <dsp:cNvSpPr/>
      </dsp:nvSpPr>
      <dsp:spPr>
        <a:xfrm>
          <a:off x="4278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Standalone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322621" y="145268"/>
        <a:ext cx="955030" cy="636686"/>
      </dsp:txXfrm>
    </dsp:sp>
    <dsp:sp modelId="{2FED07EE-86CF-4BCB-B88C-9B2736429D4B}">
      <dsp:nvSpPr>
        <dsp:cNvPr id="0" name=""/>
        <dsp:cNvSpPr/>
      </dsp:nvSpPr>
      <dsp:spPr>
        <a:xfrm>
          <a:off x="1436823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Client-Serv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1755166" y="145268"/>
        <a:ext cx="955030" cy="636686"/>
      </dsp:txXfrm>
    </dsp:sp>
    <dsp:sp modelId="{10A09D8A-353D-4F92-AA1C-FDD78C26EA23}">
      <dsp:nvSpPr>
        <dsp:cNvPr id="0" name=""/>
        <dsp:cNvSpPr/>
      </dsp:nvSpPr>
      <dsp:spPr>
        <a:xfrm>
          <a:off x="2869369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N-ti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3187712" y="145268"/>
        <a:ext cx="955030" cy="636686"/>
      </dsp:txXfrm>
    </dsp:sp>
    <dsp:sp modelId="{13AA68D4-3045-42E9-91E4-63FCB4AD66EA}">
      <dsp:nvSpPr>
        <dsp:cNvPr id="0" name=""/>
        <dsp:cNvSpPr/>
      </dsp:nvSpPr>
      <dsp:spPr>
        <a:xfrm>
          <a:off x="4301914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SOAP SO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4620257" y="145268"/>
        <a:ext cx="955030" cy="636686"/>
      </dsp:txXfrm>
    </dsp:sp>
    <dsp:sp modelId="{016D239F-4890-4D64-AE1F-0BD8202677D0}">
      <dsp:nvSpPr>
        <dsp:cNvPr id="0" name=""/>
        <dsp:cNvSpPr/>
      </dsp:nvSpPr>
      <dsp:spPr>
        <a:xfrm>
          <a:off x="5734459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REST / AP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6052802" y="145268"/>
        <a:ext cx="955030" cy="636686"/>
      </dsp:txXfrm>
    </dsp:sp>
    <dsp:sp modelId="{E9BDAB84-DCF3-44E8-9AE7-E985884BD6DB}">
      <dsp:nvSpPr>
        <dsp:cNvPr id="0" name=""/>
        <dsp:cNvSpPr/>
      </dsp:nvSpPr>
      <dsp:spPr>
        <a:xfrm>
          <a:off x="7167004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icro services</a:t>
          </a:r>
          <a:endParaRPr lang="en-US" sz="1200" b="1" kern="1200" dirty="0"/>
        </a:p>
      </dsp:txBody>
      <dsp:txXfrm>
        <a:off x="7485347" y="145268"/>
        <a:ext cx="955030" cy="6366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884482" y="-2689366"/>
          <a:ext cx="731118" cy="62957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Support for the diversified client channels – Mobile, Web , Call Center</a:t>
          </a:r>
          <a:endParaRPr lang="en-US" sz="1400" i="1" kern="1200" dirty="0">
            <a:latin typeface="+mn-lt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Swivel Chair solution for the support and Call Center teams</a:t>
          </a:r>
        </a:p>
      </dsp:txBody>
      <dsp:txXfrm rot="-5400000">
        <a:off x="2102157" y="128649"/>
        <a:ext cx="6260079" cy="659738"/>
      </dsp:txXfrm>
    </dsp:sp>
    <dsp:sp modelId="{01BD75F8-34C1-4140-B003-CDB8697EC544}">
      <dsp:nvSpPr>
        <dsp:cNvPr id="0" name=""/>
        <dsp:cNvSpPr/>
      </dsp:nvSpPr>
      <dsp:spPr>
        <a:xfrm>
          <a:off x="0" y="1569"/>
          <a:ext cx="2136642" cy="913897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User </a:t>
          </a:r>
          <a:r>
            <a:rPr lang="en-US" sz="1600" b="0" i="0" kern="1200" dirty="0" smtClean="0">
              <a:latin typeface="+mn-lt"/>
            </a:rPr>
            <a:t>Experience</a:t>
          </a:r>
          <a:endParaRPr lang="en-US" sz="1600" b="0" i="0" kern="1200" dirty="0">
            <a:latin typeface="+mn-lt"/>
          </a:endParaRPr>
        </a:p>
      </dsp:txBody>
      <dsp:txXfrm>
        <a:off x="44613" y="46182"/>
        <a:ext cx="2047416" cy="824671"/>
      </dsp:txXfrm>
    </dsp:sp>
    <dsp:sp modelId="{4CFA480F-4DF8-4FAD-839E-F92CAD216378}">
      <dsp:nvSpPr>
        <dsp:cNvPr id="0" name=""/>
        <dsp:cNvSpPr/>
      </dsp:nvSpPr>
      <dsp:spPr>
        <a:xfrm rot="5400000">
          <a:off x="4884482" y="-1729773"/>
          <a:ext cx="731118" cy="62957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Complex Infrastructur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Expensive licensed software</a:t>
          </a:r>
        </a:p>
      </dsp:txBody>
      <dsp:txXfrm rot="-5400000">
        <a:off x="2102157" y="1088242"/>
        <a:ext cx="6260079" cy="659738"/>
      </dsp:txXfrm>
    </dsp:sp>
    <dsp:sp modelId="{20D97318-B57A-4656-9726-C99C8944366C}">
      <dsp:nvSpPr>
        <dsp:cNvPr id="0" name=""/>
        <dsp:cNvSpPr/>
      </dsp:nvSpPr>
      <dsp:spPr>
        <a:xfrm>
          <a:off x="0" y="961162"/>
          <a:ext cx="2136642" cy="913897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Infrastructur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Cost</a:t>
          </a:r>
        </a:p>
      </dsp:txBody>
      <dsp:txXfrm>
        <a:off x="44613" y="1005775"/>
        <a:ext cx="2047416" cy="824671"/>
      </dsp:txXfrm>
    </dsp:sp>
    <dsp:sp modelId="{E8027EA7-242A-47DE-819A-B76961048A94}">
      <dsp:nvSpPr>
        <dsp:cNvPr id="0" name=""/>
        <dsp:cNvSpPr/>
      </dsp:nvSpPr>
      <dsp:spPr>
        <a:xfrm rot="5400000">
          <a:off x="4884482" y="-770181"/>
          <a:ext cx="731118" cy="62957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Shirking skilled resource pool to understand AS/400 technolog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Monolith application support and enhancement</a:t>
          </a:r>
        </a:p>
      </dsp:txBody>
      <dsp:txXfrm rot="-5400000">
        <a:off x="2102157" y="2047834"/>
        <a:ext cx="6260079" cy="659738"/>
      </dsp:txXfrm>
    </dsp:sp>
    <dsp:sp modelId="{EAB8D254-8FE6-475C-B881-D2E6256A90C8}">
      <dsp:nvSpPr>
        <dsp:cNvPr id="0" name=""/>
        <dsp:cNvSpPr/>
      </dsp:nvSpPr>
      <dsp:spPr>
        <a:xfrm>
          <a:off x="0" y="1920754"/>
          <a:ext cx="2136642" cy="913897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Support &amp;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Maintenance</a:t>
          </a:r>
          <a:endParaRPr lang="en-US" sz="1600" b="0" kern="1200" dirty="0"/>
        </a:p>
      </dsp:txBody>
      <dsp:txXfrm>
        <a:off x="44613" y="1965367"/>
        <a:ext cx="2047416" cy="824671"/>
      </dsp:txXfrm>
    </dsp:sp>
    <dsp:sp modelId="{BFC569A1-F95A-4F93-8757-99CFECB1D562}">
      <dsp:nvSpPr>
        <dsp:cNvPr id="0" name=""/>
        <dsp:cNvSpPr/>
      </dsp:nvSpPr>
      <dsp:spPr>
        <a:xfrm rot="5400000">
          <a:off x="4884482" y="189411"/>
          <a:ext cx="731118" cy="62957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Integration with the existing systems , Business Processes and Services</a:t>
          </a:r>
        </a:p>
      </dsp:txBody>
      <dsp:txXfrm rot="-5400000">
        <a:off x="2102157" y="3007426"/>
        <a:ext cx="6260079" cy="659738"/>
      </dsp:txXfrm>
    </dsp:sp>
    <dsp:sp modelId="{71F82583-B10E-4E77-8BC2-03A246261B65}">
      <dsp:nvSpPr>
        <dsp:cNvPr id="0" name=""/>
        <dsp:cNvSpPr/>
      </dsp:nvSpPr>
      <dsp:spPr>
        <a:xfrm>
          <a:off x="0" y="2880347"/>
          <a:ext cx="2136642" cy="913897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Enterpris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Integration</a:t>
          </a:r>
          <a:endParaRPr lang="en-US" sz="1600" b="0" kern="1200" dirty="0"/>
        </a:p>
      </dsp:txBody>
      <dsp:txXfrm>
        <a:off x="44613" y="2924960"/>
        <a:ext cx="2047416" cy="824671"/>
      </dsp:txXfrm>
    </dsp:sp>
    <dsp:sp modelId="{14EE1C8A-D50A-43DC-8770-259105F406F4}">
      <dsp:nvSpPr>
        <dsp:cNvPr id="0" name=""/>
        <dsp:cNvSpPr/>
      </dsp:nvSpPr>
      <dsp:spPr>
        <a:xfrm rot="5400000">
          <a:off x="4884482" y="1149003"/>
          <a:ext cx="731118" cy="62957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Business Capability as a Servic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“One Portal” experience to the users</a:t>
          </a:r>
        </a:p>
      </dsp:txBody>
      <dsp:txXfrm rot="-5400000">
        <a:off x="2102157" y="3967018"/>
        <a:ext cx="6260079" cy="659738"/>
      </dsp:txXfrm>
    </dsp:sp>
    <dsp:sp modelId="{A3A658F6-405E-470F-9602-3657DFB1C7FB}">
      <dsp:nvSpPr>
        <dsp:cNvPr id="0" name=""/>
        <dsp:cNvSpPr/>
      </dsp:nvSpPr>
      <dsp:spPr>
        <a:xfrm>
          <a:off x="0" y="3839940"/>
          <a:ext cx="2136642" cy="913897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Next Generatio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adiness</a:t>
          </a:r>
        </a:p>
      </dsp:txBody>
      <dsp:txXfrm>
        <a:off x="44613" y="3884553"/>
        <a:ext cx="2047416" cy="824671"/>
      </dsp:txXfrm>
    </dsp:sp>
    <dsp:sp modelId="{C801C423-AB10-4EDA-98B7-FB811A8913C6}">
      <dsp:nvSpPr>
        <dsp:cNvPr id="0" name=""/>
        <dsp:cNvSpPr/>
      </dsp:nvSpPr>
      <dsp:spPr>
        <a:xfrm rot="5400000">
          <a:off x="4915937" y="2094478"/>
          <a:ext cx="731118" cy="62957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Code quality with manually tested cod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Federated development environment</a:t>
          </a:r>
        </a:p>
      </dsp:txBody>
      <dsp:txXfrm rot="-5400000">
        <a:off x="2133612" y="4912493"/>
        <a:ext cx="6260079" cy="659738"/>
      </dsp:txXfrm>
    </dsp:sp>
    <dsp:sp modelId="{9C1F07CD-EDD1-4AD8-B505-845FC24081BD}">
      <dsp:nvSpPr>
        <dsp:cNvPr id="0" name=""/>
        <dsp:cNvSpPr/>
      </dsp:nvSpPr>
      <dsp:spPr>
        <a:xfrm>
          <a:off x="0" y="4799532"/>
          <a:ext cx="2136642" cy="913897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Development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Practice</a:t>
          </a:r>
        </a:p>
      </dsp:txBody>
      <dsp:txXfrm>
        <a:off x="44613" y="4844145"/>
        <a:ext cx="2047416" cy="82467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48624" y="-2611533"/>
          <a:ext cx="719048" cy="612561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Consistent optimized client experience across client channels</a:t>
          </a:r>
          <a:endParaRPr lang="en-US" sz="1400" i="1" kern="1200" dirty="0">
            <a:latin typeface="+mn-lt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“One Portal” user experience capability</a:t>
          </a:r>
          <a:endParaRPr lang="en-US" sz="1400" i="1" kern="1200" dirty="0">
            <a:latin typeface="+mn-lt"/>
          </a:endParaRPr>
        </a:p>
      </dsp:txBody>
      <dsp:txXfrm rot="-5400000">
        <a:off x="2045342" y="126850"/>
        <a:ext cx="6090512" cy="648846"/>
      </dsp:txXfrm>
    </dsp:sp>
    <dsp:sp modelId="{01BD75F8-34C1-4140-B003-CDB8697EC544}">
      <dsp:nvSpPr>
        <dsp:cNvPr id="0" name=""/>
        <dsp:cNvSpPr/>
      </dsp:nvSpPr>
      <dsp:spPr>
        <a:xfrm>
          <a:off x="0" y="1868"/>
          <a:ext cx="2078895" cy="89881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User </a:t>
          </a:r>
          <a:r>
            <a:rPr lang="en-US" sz="1600" b="0" i="0" kern="1200" dirty="0" smtClean="0">
              <a:latin typeface="+mn-lt"/>
            </a:rPr>
            <a:t>Experience</a:t>
          </a:r>
          <a:endParaRPr lang="en-US" sz="1600" b="0" i="0" kern="1200" dirty="0">
            <a:latin typeface="+mn-lt"/>
          </a:endParaRPr>
        </a:p>
      </dsp:txBody>
      <dsp:txXfrm>
        <a:off x="43876" y="45744"/>
        <a:ext cx="1991143" cy="811058"/>
      </dsp:txXfrm>
    </dsp:sp>
    <dsp:sp modelId="{4CFA480F-4DF8-4FAD-839E-F92CAD216378}">
      <dsp:nvSpPr>
        <dsp:cNvPr id="0" name=""/>
        <dsp:cNvSpPr/>
      </dsp:nvSpPr>
      <dsp:spPr>
        <a:xfrm rot="5400000">
          <a:off x="4748624" y="-1667782"/>
          <a:ext cx="719048" cy="612561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Opportunity to leverage FOSS (Free Open Source Software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Inexpensive modern hardware compared to IBM AS/400 iSeries</a:t>
          </a:r>
        </a:p>
      </dsp:txBody>
      <dsp:txXfrm rot="-5400000">
        <a:off x="2045342" y="1070601"/>
        <a:ext cx="6090512" cy="648846"/>
      </dsp:txXfrm>
    </dsp:sp>
    <dsp:sp modelId="{20D97318-B57A-4656-9726-C99C8944366C}">
      <dsp:nvSpPr>
        <dsp:cNvPr id="0" name=""/>
        <dsp:cNvSpPr/>
      </dsp:nvSpPr>
      <dsp:spPr>
        <a:xfrm>
          <a:off x="0" y="945619"/>
          <a:ext cx="2078895" cy="89881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Infrastructur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Cost</a:t>
          </a:r>
        </a:p>
      </dsp:txBody>
      <dsp:txXfrm>
        <a:off x="43876" y="989495"/>
        <a:ext cx="1991143" cy="811058"/>
      </dsp:txXfrm>
    </dsp:sp>
    <dsp:sp modelId="{E8027EA7-242A-47DE-819A-B76961048A94}">
      <dsp:nvSpPr>
        <dsp:cNvPr id="0" name=""/>
        <dsp:cNvSpPr/>
      </dsp:nvSpPr>
      <dsp:spPr>
        <a:xfrm rot="5400000">
          <a:off x="4693993" y="-726562"/>
          <a:ext cx="719048" cy="612561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Available skilled resource pool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Easy to maintain and enhance micro components/services</a:t>
          </a:r>
        </a:p>
      </dsp:txBody>
      <dsp:txXfrm rot="-5400000">
        <a:off x="1990711" y="2011821"/>
        <a:ext cx="6090512" cy="648846"/>
      </dsp:txXfrm>
    </dsp:sp>
    <dsp:sp modelId="{EAB8D254-8FE6-475C-B881-D2E6256A90C8}">
      <dsp:nvSpPr>
        <dsp:cNvPr id="0" name=""/>
        <dsp:cNvSpPr/>
      </dsp:nvSpPr>
      <dsp:spPr>
        <a:xfrm>
          <a:off x="0" y="1889370"/>
          <a:ext cx="2078895" cy="89881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Support &amp;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Maintenance</a:t>
          </a:r>
          <a:endParaRPr lang="en-US" sz="1600" b="0" kern="1200" dirty="0"/>
        </a:p>
      </dsp:txBody>
      <dsp:txXfrm>
        <a:off x="43876" y="1933246"/>
        <a:ext cx="1991143" cy="811058"/>
      </dsp:txXfrm>
    </dsp:sp>
    <dsp:sp modelId="{BFC569A1-F95A-4F93-8757-99CFECB1D562}">
      <dsp:nvSpPr>
        <dsp:cNvPr id="0" name=""/>
        <dsp:cNvSpPr/>
      </dsp:nvSpPr>
      <dsp:spPr>
        <a:xfrm rot="5400000">
          <a:off x="4748624" y="219719"/>
          <a:ext cx="719048" cy="612561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Friction free integration with the existing systems and Servic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Capability to leverage enterprise core platforms – BPM, CRM , CEP , Analytics</a:t>
          </a:r>
        </a:p>
      </dsp:txBody>
      <dsp:txXfrm rot="-5400000">
        <a:off x="2045342" y="2958103"/>
        <a:ext cx="6090512" cy="648846"/>
      </dsp:txXfrm>
    </dsp:sp>
    <dsp:sp modelId="{71F82583-B10E-4E77-8BC2-03A246261B65}">
      <dsp:nvSpPr>
        <dsp:cNvPr id="0" name=""/>
        <dsp:cNvSpPr/>
      </dsp:nvSpPr>
      <dsp:spPr>
        <a:xfrm>
          <a:off x="0" y="2833121"/>
          <a:ext cx="2078895" cy="89881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Enterpris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Integration</a:t>
          </a:r>
          <a:endParaRPr lang="en-US" sz="1600" b="0" kern="1200" dirty="0"/>
        </a:p>
      </dsp:txBody>
      <dsp:txXfrm>
        <a:off x="43876" y="2876997"/>
        <a:ext cx="1991143" cy="8110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51318" y="-2616746"/>
          <a:ext cx="713660" cy="612561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Consistent optimized client experience across client channels</a:t>
          </a:r>
          <a:endParaRPr lang="en-US" sz="1400" i="1" kern="1200" dirty="0">
            <a:latin typeface="+mn-lt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“One Portal” user experience capability</a:t>
          </a:r>
          <a:endParaRPr lang="en-US" sz="1400" i="1" kern="1200" dirty="0">
            <a:latin typeface="+mn-lt"/>
          </a:endParaRPr>
        </a:p>
      </dsp:txBody>
      <dsp:txXfrm rot="-5400000">
        <a:off x="2045342" y="124068"/>
        <a:ext cx="6090775" cy="643984"/>
      </dsp:txXfrm>
    </dsp:sp>
    <dsp:sp modelId="{01BD75F8-34C1-4140-B003-CDB8697EC544}">
      <dsp:nvSpPr>
        <dsp:cNvPr id="0" name=""/>
        <dsp:cNvSpPr/>
      </dsp:nvSpPr>
      <dsp:spPr>
        <a:xfrm>
          <a:off x="0" y="22"/>
          <a:ext cx="2078895" cy="892075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User </a:t>
          </a:r>
          <a:r>
            <a:rPr lang="en-US" sz="1600" b="0" i="0" kern="1200" dirty="0" smtClean="0">
              <a:latin typeface="+mn-lt"/>
            </a:rPr>
            <a:t>Experience</a:t>
          </a:r>
          <a:endParaRPr lang="en-US" sz="1600" b="0" i="0" kern="1200" dirty="0">
            <a:latin typeface="+mn-lt"/>
          </a:endParaRPr>
        </a:p>
      </dsp:txBody>
      <dsp:txXfrm>
        <a:off x="43548" y="43570"/>
        <a:ext cx="1991799" cy="804979"/>
      </dsp:txXfrm>
    </dsp:sp>
    <dsp:sp modelId="{4CFA480F-4DF8-4FAD-839E-F92CAD216378}">
      <dsp:nvSpPr>
        <dsp:cNvPr id="0" name=""/>
        <dsp:cNvSpPr/>
      </dsp:nvSpPr>
      <dsp:spPr>
        <a:xfrm rot="5400000">
          <a:off x="4751318" y="-1680067"/>
          <a:ext cx="713660" cy="612561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Opportunity to leverage FOSS (Free Open Source Software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i="1" kern="1200" dirty="0" smtClean="0">
              <a:latin typeface="+mn-lt"/>
            </a:rPr>
            <a:t>Inexpensive modern hardware compared to IBM AS/400 iSeries</a:t>
          </a:r>
        </a:p>
      </dsp:txBody>
      <dsp:txXfrm rot="-5400000">
        <a:off x="2045342" y="1060747"/>
        <a:ext cx="6090775" cy="643984"/>
      </dsp:txXfrm>
    </dsp:sp>
    <dsp:sp modelId="{20D97318-B57A-4656-9726-C99C8944366C}">
      <dsp:nvSpPr>
        <dsp:cNvPr id="0" name=""/>
        <dsp:cNvSpPr/>
      </dsp:nvSpPr>
      <dsp:spPr>
        <a:xfrm>
          <a:off x="0" y="936701"/>
          <a:ext cx="2078895" cy="892075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Infrastructur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Cost</a:t>
          </a:r>
        </a:p>
      </dsp:txBody>
      <dsp:txXfrm>
        <a:off x="43548" y="980249"/>
        <a:ext cx="1991799" cy="80497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D47CF6-A73F-4957-BC59-BD3F2760740D}">
      <dsp:nvSpPr>
        <dsp:cNvPr id="0" name=""/>
        <dsp:cNvSpPr/>
      </dsp:nvSpPr>
      <dsp:spPr>
        <a:xfrm rot="5400000">
          <a:off x="4732505" y="-3151939"/>
          <a:ext cx="276818" cy="66501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9144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Provides dynamic routing, monitoring , resiliency, security etc.</a:t>
          </a:r>
          <a:endParaRPr lang="en-US" sz="1000" kern="1200" dirty="0"/>
        </a:p>
        <a:p>
          <a:pPr marL="9144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Balances the load with the help of Ribbon Client module</a:t>
          </a:r>
          <a:endParaRPr lang="en-US" sz="1000" kern="1200" dirty="0"/>
        </a:p>
      </dsp:txBody>
      <dsp:txXfrm rot="-5400000">
        <a:off x="1545850" y="48229"/>
        <a:ext cx="6636617" cy="249792"/>
      </dsp:txXfrm>
    </dsp:sp>
    <dsp:sp modelId="{79F3A793-6F1A-4E49-ACC9-E21A05CC0E46}">
      <dsp:nvSpPr>
        <dsp:cNvPr id="0" name=""/>
        <dsp:cNvSpPr/>
      </dsp:nvSpPr>
      <dsp:spPr>
        <a:xfrm>
          <a:off x="47961" y="114"/>
          <a:ext cx="1497887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Zuul</a:t>
          </a:r>
          <a:endParaRPr lang="en-US" sz="1000" b="1" kern="1200" dirty="0"/>
        </a:p>
      </dsp:txBody>
      <dsp:txXfrm>
        <a:off x="64852" y="17005"/>
        <a:ext cx="1464105" cy="312241"/>
      </dsp:txXfrm>
    </dsp:sp>
    <dsp:sp modelId="{DC1D8D64-03A1-4CE3-AD7B-B785D7DCBAD9}">
      <dsp:nvSpPr>
        <dsp:cNvPr id="0" name=""/>
        <dsp:cNvSpPr/>
      </dsp:nvSpPr>
      <dsp:spPr>
        <a:xfrm rot="5400000">
          <a:off x="4746118" y="-2762105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ervice registry</a:t>
          </a:r>
          <a:endParaRPr lang="en-US" sz="1000" kern="1200" dirty="0"/>
        </a:p>
      </dsp:txBody>
      <dsp:txXfrm rot="-5400000">
        <a:off x="1560333" y="437193"/>
        <a:ext cx="6634876" cy="249792"/>
      </dsp:txXfrm>
    </dsp:sp>
    <dsp:sp modelId="{5C449367-1CAC-4420-BEAA-FE205C84FFEB}">
      <dsp:nvSpPr>
        <dsp:cNvPr id="0" name=""/>
        <dsp:cNvSpPr/>
      </dsp:nvSpPr>
      <dsp:spPr>
        <a:xfrm>
          <a:off x="47961" y="363438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Eureka</a:t>
          </a:r>
          <a:endParaRPr lang="en-US" sz="1200" b="1" kern="1200" dirty="0"/>
        </a:p>
      </dsp:txBody>
      <dsp:txXfrm>
        <a:off x="64852" y="380329"/>
        <a:ext cx="1465827" cy="312241"/>
      </dsp:txXfrm>
    </dsp:sp>
    <dsp:sp modelId="{46DA5678-5DE9-47E1-9A8A-4E758AB665C3}">
      <dsp:nvSpPr>
        <dsp:cNvPr id="0" name=""/>
        <dsp:cNvSpPr/>
      </dsp:nvSpPr>
      <dsp:spPr>
        <a:xfrm rot="5400000">
          <a:off x="4733356" y="-2424420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upport for externalized configuration in a distributed system</a:t>
          </a:r>
          <a:endParaRPr lang="en-US" sz="1000" kern="1200" dirty="0"/>
        </a:p>
      </dsp:txBody>
      <dsp:txXfrm rot="-5400000">
        <a:off x="1547571" y="774878"/>
        <a:ext cx="6634876" cy="249792"/>
      </dsp:txXfrm>
    </dsp:sp>
    <dsp:sp modelId="{CA3869C7-3D5A-4093-A653-F98B2DD9516E}">
      <dsp:nvSpPr>
        <dsp:cNvPr id="0" name=""/>
        <dsp:cNvSpPr/>
      </dsp:nvSpPr>
      <dsp:spPr>
        <a:xfrm>
          <a:off x="47961" y="726763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Config</a:t>
          </a:r>
          <a:endParaRPr lang="en-US" sz="1200" b="1" kern="1200" dirty="0"/>
        </a:p>
      </dsp:txBody>
      <dsp:txXfrm>
        <a:off x="64852" y="743654"/>
        <a:ext cx="1465827" cy="312241"/>
      </dsp:txXfrm>
    </dsp:sp>
    <dsp:sp modelId="{A86510C9-D720-46C1-A242-8D3E51D89011}">
      <dsp:nvSpPr>
        <dsp:cNvPr id="0" name=""/>
        <dsp:cNvSpPr/>
      </dsp:nvSpPr>
      <dsp:spPr>
        <a:xfrm rot="5400000">
          <a:off x="4729910" y="-2052812"/>
          <a:ext cx="276818" cy="663182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tops cascading failures in a complex distributed system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Fail fast and rapid recovery</a:t>
          </a:r>
          <a:endParaRPr lang="en-US" sz="1000" kern="1200" dirty="0"/>
        </a:p>
      </dsp:txBody>
      <dsp:txXfrm rot="-5400000">
        <a:off x="1552409" y="1138202"/>
        <a:ext cx="6618309" cy="249792"/>
      </dsp:txXfrm>
    </dsp:sp>
    <dsp:sp modelId="{6D6E7F05-936D-4550-8F6A-A44AB5FA2B2E}">
      <dsp:nvSpPr>
        <dsp:cNvPr id="0" name=""/>
        <dsp:cNvSpPr/>
      </dsp:nvSpPr>
      <dsp:spPr>
        <a:xfrm>
          <a:off x="47961" y="1090087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Hystrix</a:t>
          </a:r>
          <a:endParaRPr lang="en-US" sz="1200" b="1" kern="1200" dirty="0"/>
        </a:p>
      </dsp:txBody>
      <dsp:txXfrm>
        <a:off x="64852" y="1106978"/>
        <a:ext cx="1453392" cy="312241"/>
      </dsp:txXfrm>
    </dsp:sp>
    <dsp:sp modelId="{4700B3A7-60F1-48F4-943F-974B024D79C2}">
      <dsp:nvSpPr>
        <dsp:cNvPr id="0" name=""/>
        <dsp:cNvSpPr/>
      </dsp:nvSpPr>
      <dsp:spPr>
        <a:xfrm rot="5400000">
          <a:off x="4719892" y="-1696742"/>
          <a:ext cx="276818" cy="664633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Aggregates multiple Hystrix metrics streams to provide the aggregated view</a:t>
          </a:r>
          <a:endParaRPr lang="en-US" sz="1000" kern="1200" dirty="0"/>
        </a:p>
      </dsp:txBody>
      <dsp:txXfrm rot="-5400000">
        <a:off x="1535136" y="1501527"/>
        <a:ext cx="6632818" cy="249792"/>
      </dsp:txXfrm>
    </dsp:sp>
    <dsp:sp modelId="{119F3AF5-50D8-4CD1-BF61-009A25F18620}">
      <dsp:nvSpPr>
        <dsp:cNvPr id="0" name=""/>
        <dsp:cNvSpPr/>
      </dsp:nvSpPr>
      <dsp:spPr>
        <a:xfrm>
          <a:off x="47961" y="1453411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Turbine</a:t>
          </a:r>
          <a:endParaRPr lang="en-US" sz="1200" b="1" kern="1200" dirty="0"/>
        </a:p>
      </dsp:txBody>
      <dsp:txXfrm>
        <a:off x="64852" y="1470302"/>
        <a:ext cx="1453392" cy="312241"/>
      </dsp:txXfrm>
    </dsp:sp>
    <dsp:sp modelId="{92A26A56-0C0D-40DE-99C9-6CD997171D91}">
      <dsp:nvSpPr>
        <dsp:cNvPr id="0" name=""/>
        <dsp:cNvSpPr/>
      </dsp:nvSpPr>
      <dsp:spPr>
        <a:xfrm rot="5400000">
          <a:off x="4723823" y="-1337349"/>
          <a:ext cx="276818" cy="665419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The Hystrix Dashboard displays the health of each circuit breaker.</a:t>
          </a:r>
          <a:endParaRPr lang="en-US" sz="1000" kern="1200" dirty="0"/>
        </a:p>
      </dsp:txBody>
      <dsp:txXfrm rot="-5400000">
        <a:off x="1535136" y="1864851"/>
        <a:ext cx="6640680" cy="249792"/>
      </dsp:txXfrm>
    </dsp:sp>
    <dsp:sp modelId="{12B2B7B1-5662-478D-AF96-9807BA624C1F}">
      <dsp:nvSpPr>
        <dsp:cNvPr id="0" name=""/>
        <dsp:cNvSpPr/>
      </dsp:nvSpPr>
      <dsp:spPr>
        <a:xfrm>
          <a:off x="47961" y="1816735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Hystrix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Dashboard</a:t>
          </a:r>
          <a:endParaRPr lang="en-US" sz="1200" b="1" kern="1200" dirty="0"/>
        </a:p>
      </dsp:txBody>
      <dsp:txXfrm>
        <a:off x="64852" y="1833626"/>
        <a:ext cx="1453392" cy="312241"/>
      </dsp:txXfrm>
    </dsp:sp>
    <dsp:sp modelId="{791C9751-AA78-4EFD-8F4E-E3751273769C}">
      <dsp:nvSpPr>
        <dsp:cNvPr id="0" name=""/>
        <dsp:cNvSpPr/>
      </dsp:nvSpPr>
      <dsp:spPr>
        <a:xfrm rot="5400000">
          <a:off x="4731988" y="-962839"/>
          <a:ext cx="276818" cy="663182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It is a client side load balancer</a:t>
          </a:r>
          <a:endParaRPr lang="en-US" sz="1000" kern="1200" dirty="0"/>
        </a:p>
      </dsp:txBody>
      <dsp:txXfrm rot="-5400000">
        <a:off x="1554487" y="2228175"/>
        <a:ext cx="6618309" cy="249792"/>
      </dsp:txXfrm>
    </dsp:sp>
    <dsp:sp modelId="{1DEB945A-18ED-4BC7-AADC-6153E54828A4}">
      <dsp:nvSpPr>
        <dsp:cNvPr id="0" name=""/>
        <dsp:cNvSpPr/>
      </dsp:nvSpPr>
      <dsp:spPr>
        <a:xfrm>
          <a:off x="47961" y="2180060"/>
          <a:ext cx="1497887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Ribbon</a:t>
          </a:r>
          <a:r>
            <a:rPr lang="en-US" sz="1800" kern="1200" dirty="0" smtClean="0"/>
            <a:t> </a:t>
          </a:r>
          <a:r>
            <a:rPr lang="en-US" sz="1200" b="1" kern="1200" dirty="0" smtClean="0"/>
            <a:t>Client</a:t>
          </a:r>
          <a:endParaRPr lang="en-US" sz="1200" b="1" kern="1200" dirty="0"/>
        </a:p>
      </dsp:txBody>
      <dsp:txXfrm>
        <a:off x="64852" y="2196951"/>
        <a:ext cx="1464105" cy="312241"/>
      </dsp:txXfrm>
    </dsp:sp>
    <dsp:sp modelId="{DB237B8B-44DD-4303-815E-B7FDCF76580E}">
      <dsp:nvSpPr>
        <dsp:cNvPr id="0" name=""/>
        <dsp:cNvSpPr/>
      </dsp:nvSpPr>
      <dsp:spPr>
        <a:xfrm rot="5400000">
          <a:off x="4733356" y="-607799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Distributed service request tracing system</a:t>
          </a:r>
          <a:endParaRPr lang="en-US" sz="1000" kern="1200" dirty="0"/>
        </a:p>
      </dsp:txBody>
      <dsp:txXfrm rot="-5400000">
        <a:off x="1547571" y="2591499"/>
        <a:ext cx="6634876" cy="249792"/>
      </dsp:txXfrm>
    </dsp:sp>
    <dsp:sp modelId="{F4FBA015-194E-42DE-95FA-BA92E0777DE1}">
      <dsp:nvSpPr>
        <dsp:cNvPr id="0" name=""/>
        <dsp:cNvSpPr/>
      </dsp:nvSpPr>
      <dsp:spPr>
        <a:xfrm>
          <a:off x="47961" y="2543384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Sleuth/</a:t>
          </a:r>
          <a:r>
            <a:rPr lang="en-US" sz="1200" b="1" kern="1200" dirty="0" err="1" smtClean="0"/>
            <a:t>Zipkin</a:t>
          </a:r>
          <a:endParaRPr lang="en-US" sz="1200" b="1" kern="1200" dirty="0"/>
        </a:p>
      </dsp:txBody>
      <dsp:txXfrm>
        <a:off x="64852" y="2560275"/>
        <a:ext cx="1465827" cy="3122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1F06C-EAC4-4131-A6FE-17CEDCC20651}" type="datetimeFigureOut">
              <a:rPr lang="en-US" smtClean="0"/>
              <a:pPr/>
              <a:t>12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115814-C0F2-45CC-BF25-88AD4F20BC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1044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724A45-DB09-41FA-94EA-B8001C7F3C36}" type="datetimeFigureOut">
              <a:rPr lang="en-US" smtClean="0"/>
              <a:pPr/>
              <a:t>12/1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838743-1D35-43BA-B005-980886BAB19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3983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8743-1D35-43BA-B005-980886BAB193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891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8743-1D35-43BA-B005-980886BAB19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691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2895E-8DAA-4A18-8157-CB5669971D59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0AF49-9133-4DB7-8793-C394DAE8AD3F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4946-AB65-42BF-804F-C7C94A7179DB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CA4AC-7F92-45C2-BB75-3EBFF233EE59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4E16F-F769-45F4-A5DB-3DE97CD17C06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0D2A8-D5CD-4D5E-9CBB-E4F5BDEC0214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829-6A5A-4F9F-93C6-D124C22EC889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88DC-60FB-41F2-A0BB-39FD819EDD94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6B7751-9CC4-4691-9C13-B6125BF662B8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7BB4E-754D-45F9-A43F-4878FA142397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5E7918-70F2-4ADC-AE29-88126140AEC5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2A100-E661-4B56-9D9D-38F2193CF8CD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diagramLayout" Target="../diagrams/layout6.xml"/><Relationship Id="rId3" Type="http://schemas.openxmlformats.org/officeDocument/2006/relationships/tags" Target="../tags/tag7.xml"/><Relationship Id="rId7" Type="http://schemas.openxmlformats.org/officeDocument/2006/relationships/image" Target="../media/image1.jpeg"/><Relationship Id="rId12" Type="http://schemas.openxmlformats.org/officeDocument/2006/relationships/diagramData" Target="../diagrams/data6.xml"/><Relationship Id="rId2" Type="http://schemas.openxmlformats.org/officeDocument/2006/relationships/tags" Target="../tags/tag6.xml"/><Relationship Id="rId16" Type="http://schemas.microsoft.com/office/2007/relationships/diagramDrawing" Target="../diagrams/drawin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2.xml"/><Relationship Id="rId15" Type="http://schemas.openxmlformats.org/officeDocument/2006/relationships/diagramColors" Target="../diagrams/colors6.xml"/><Relationship Id="rId10" Type="http://schemas.openxmlformats.org/officeDocument/2006/relationships/image" Target="../media/image4.png"/><Relationship Id="rId4" Type="http://schemas.openxmlformats.org/officeDocument/2006/relationships/tags" Target="../tags/tag8.xml"/><Relationship Id="rId9" Type="http://schemas.openxmlformats.org/officeDocument/2006/relationships/image" Target="../media/image3.png"/><Relationship Id="rId14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</a:t>
            </a:fld>
            <a:endParaRPr lang="en-US" sz="1000" b="1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1769694" y="2362200"/>
            <a:ext cx="5890684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 smtClean="0">
                <a:solidFill>
                  <a:srgbClr val="002060"/>
                </a:solidFill>
              </a:rPr>
              <a:t>Microservices</a:t>
            </a:r>
            <a:r>
              <a:rPr lang="en-US" sz="2800" b="1" dirty="0" smtClean="0">
                <a:solidFill>
                  <a:srgbClr val="002060"/>
                </a:solidFill>
              </a:rPr>
              <a:t/>
            </a:r>
            <a:br>
              <a:rPr lang="en-US" sz="2800" b="1" dirty="0" smtClean="0">
                <a:solidFill>
                  <a:srgbClr val="002060"/>
                </a:solidFill>
              </a:rPr>
            </a:br>
            <a:r>
              <a:rPr lang="en-US" sz="2000" b="1" dirty="0" smtClean="0">
                <a:solidFill>
                  <a:srgbClr val="002060"/>
                </a:solidFill>
              </a:rPr>
              <a:t>Spring Cloud Netflix ecosystem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11" name="Subtitle 3"/>
          <p:cNvSpPr txBox="1">
            <a:spLocks/>
          </p:cNvSpPr>
          <p:nvPr/>
        </p:nvSpPr>
        <p:spPr>
          <a:xfrm>
            <a:off x="1769694" y="3654744"/>
            <a:ext cx="2649906" cy="4814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400" dirty="0" smtClean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by </a:t>
            </a:r>
            <a:r>
              <a:rPr lang="en-US" sz="1200" b="1" dirty="0" smtClean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Rama Menda</a:t>
            </a:r>
            <a:endParaRPr lang="en-US" sz="1000" b="1" dirty="0" smtClean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525236" y="3420834"/>
            <a:ext cx="8496300" cy="0"/>
          </a:xfrm>
          <a:prstGeom prst="line">
            <a:avLst/>
          </a:prstGeom>
          <a:ln w="50800"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Questions and Next step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0</a:t>
            </a:fld>
            <a:endParaRPr lang="en-US" sz="1000" b="1" dirty="0"/>
          </a:p>
        </p:txBody>
      </p: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3819607"/>
              </p:ext>
            </p:extLst>
          </p:nvPr>
        </p:nvGraphicFramePr>
        <p:xfrm>
          <a:off x="304798" y="920750"/>
          <a:ext cx="8677276" cy="55626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04827"/>
                <a:gridCol w="3314700"/>
                <a:gridCol w="1371600"/>
                <a:gridCol w="348614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#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Question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By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larification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7" name="Straight Connector 26"/>
          <p:cNvCxnSpPr/>
          <p:nvPr/>
        </p:nvCxnSpPr>
        <p:spPr bwMode="auto">
          <a:xfrm>
            <a:off x="0" y="734784"/>
            <a:ext cx="9144000" cy="0"/>
          </a:xfrm>
          <a:prstGeom prst="line">
            <a:avLst/>
          </a:prstGeom>
          <a:ln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870960" y="2164080"/>
            <a:ext cx="39624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600" b="1" dirty="0" smtClean="0">
                <a:solidFill>
                  <a:srgbClr val="002060"/>
                </a:solidFill>
              </a:rPr>
              <a:t>?</a:t>
            </a:r>
            <a:endParaRPr lang="en-US" sz="16600" b="1" dirty="0">
              <a:solidFill>
                <a:srgbClr val="002060"/>
              </a:solidFill>
            </a:endParaRP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1</a:t>
            </a:fld>
            <a:endParaRPr lang="en-US" sz="10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2819400" y="2743200"/>
            <a:ext cx="31432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Appendix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- Option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2</a:t>
            </a:fld>
            <a:endParaRPr lang="en-US" sz="1000" b="1" dirty="0"/>
          </a:p>
        </p:txBody>
      </p:sp>
      <p:sp>
        <p:nvSpPr>
          <p:cNvPr id="30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153406"/>
              </p:ext>
            </p:extLst>
          </p:nvPr>
        </p:nvGraphicFramePr>
        <p:xfrm>
          <a:off x="304798" y="685800"/>
          <a:ext cx="8686802" cy="57607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286002"/>
                <a:gridCol w="1752600"/>
                <a:gridCol w="1676400"/>
                <a:gridCol w="2971800"/>
              </a:tblGrid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Capability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Spring Cloud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Other</a:t>
                      </a:r>
                      <a:r>
                        <a:rPr lang="en-US" sz="1200" b="1" baseline="0" dirty="0" smtClean="0"/>
                        <a:t> Tools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Comment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API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Gateway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Zuul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Registry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Eureka Server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Load Balanc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Ribbon Clien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Circuit Break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err="1" smtClean="0">
                          <a:latin typeface="+mj-lt"/>
                        </a:rPr>
                        <a:t>Hystrix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Configuration</a:t>
                      </a:r>
                    </a:p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Management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Config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Distributed Trace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Sleuth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health dashboard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err="1" smtClean="0">
                          <a:latin typeface="+mj-lt"/>
                        </a:rPr>
                        <a:t>Hystrix</a:t>
                      </a:r>
                      <a:r>
                        <a:rPr lang="en-US" sz="1000" dirty="0" smtClean="0">
                          <a:latin typeface="+mj-lt"/>
                        </a:rPr>
                        <a:t> </a:t>
                      </a:r>
                      <a:r>
                        <a:rPr lang="en-US" sz="1000" dirty="0" err="1" smtClean="0">
                          <a:latin typeface="+mj-lt"/>
                        </a:rPr>
                        <a:t>Dashbaord</a:t>
                      </a:r>
                      <a:endParaRPr lang="en-US" sz="1000" dirty="0" smtClean="0">
                        <a:latin typeface="+mj-lt"/>
                      </a:endParaRPr>
                    </a:p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Turbine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instance 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as a Contain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ck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n-cs"/>
                        </a:rPr>
                        <a:t>Container Management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latin typeface="+mj-lt"/>
                        </a:rPr>
                        <a:t>Kubernetes</a:t>
                      </a:r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Gateway – Spring Cloud Zuul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3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Gateway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Zuul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456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ervice Registry – Spring Cloud Eureka Server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4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Service Registry 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</a:t>
            </a:r>
            <a:r>
              <a:rPr lang="en-US" sz="1200" b="1" dirty="0" smtClean="0">
                <a:solidFill>
                  <a:srgbClr val="002060"/>
                </a:solidFill>
              </a:rPr>
              <a:t>Eureka Server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85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ervice Registry – Spring Cloud Eureka Client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5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Service Registry 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</a:t>
            </a:r>
            <a:r>
              <a:rPr lang="en-US" sz="1200" b="1" dirty="0" smtClean="0">
                <a:solidFill>
                  <a:srgbClr val="002060"/>
                </a:solidFill>
              </a:rPr>
              <a:t>Eureka Server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523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Load Balancer – Spring Cloud </a:t>
            </a:r>
            <a:r>
              <a:rPr lang="en-US" sz="2800" b="1" dirty="0">
                <a:solidFill>
                  <a:srgbClr val="002060"/>
                </a:solidFill>
              </a:rPr>
              <a:t>R</a:t>
            </a:r>
            <a:r>
              <a:rPr lang="en-US" sz="2800" b="1" dirty="0" smtClean="0">
                <a:solidFill>
                  <a:srgbClr val="002060"/>
                </a:solidFill>
              </a:rPr>
              <a:t>ibbon Client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6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Service Registry 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</a:t>
            </a:r>
            <a:r>
              <a:rPr lang="en-US" sz="1200" b="1" dirty="0" smtClean="0">
                <a:solidFill>
                  <a:srgbClr val="002060"/>
                </a:solidFill>
              </a:rPr>
              <a:t>Eureka Server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167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Configuration Management – Spring Cloud Config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7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Service Registry 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</a:t>
            </a:r>
            <a:r>
              <a:rPr lang="en-US" sz="1200" b="1" dirty="0" smtClean="0">
                <a:solidFill>
                  <a:srgbClr val="002060"/>
                </a:solidFill>
              </a:rPr>
              <a:t>Eureka Server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07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Circuit Breaker – Spring Cloud </a:t>
            </a:r>
            <a:r>
              <a:rPr lang="en-US" sz="2800" b="1" dirty="0" err="1" smtClean="0">
                <a:solidFill>
                  <a:srgbClr val="002060"/>
                </a:solidFill>
              </a:rPr>
              <a:t>Hystrix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8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Service Registry 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</a:t>
            </a:r>
            <a:r>
              <a:rPr lang="en-US" sz="1200" b="1" dirty="0" smtClean="0">
                <a:solidFill>
                  <a:srgbClr val="002060"/>
                </a:solidFill>
              </a:rPr>
              <a:t>Eureka Server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46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ervice </a:t>
            </a:r>
            <a:r>
              <a:rPr lang="en-US" sz="2800" b="1" dirty="0">
                <a:solidFill>
                  <a:srgbClr val="002060"/>
                </a:solidFill>
              </a:rPr>
              <a:t>h</a:t>
            </a:r>
            <a:r>
              <a:rPr lang="en-US" sz="2800" b="1" dirty="0" smtClean="0">
                <a:solidFill>
                  <a:srgbClr val="002060"/>
                </a:solidFill>
              </a:rPr>
              <a:t>ealth metric aggregator– Spring Cloud Turbine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9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Service Registry 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</a:t>
            </a:r>
            <a:r>
              <a:rPr lang="en-US" sz="1200" b="1" dirty="0" smtClean="0">
                <a:solidFill>
                  <a:srgbClr val="002060"/>
                </a:solidFill>
              </a:rPr>
              <a:t>Eureka Server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93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Topic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2</a:t>
            </a:fld>
            <a:endParaRPr lang="en-US" sz="1000" b="1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577323419"/>
              </p:ext>
            </p:extLst>
          </p:nvPr>
        </p:nvGraphicFramePr>
        <p:xfrm>
          <a:off x="152400" y="685800"/>
          <a:ext cx="83820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5022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ervice Dashboard – Spring Cloud </a:t>
            </a:r>
            <a:r>
              <a:rPr lang="en-US" sz="2800" b="1" dirty="0" err="1" smtClean="0">
                <a:solidFill>
                  <a:srgbClr val="002060"/>
                </a:solidFill>
              </a:rPr>
              <a:t>Hystrix</a:t>
            </a:r>
            <a:r>
              <a:rPr lang="en-US" sz="2800" b="1" dirty="0" smtClean="0">
                <a:solidFill>
                  <a:srgbClr val="002060"/>
                </a:solidFill>
              </a:rPr>
              <a:t> Dashboard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20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Service Registry 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</a:t>
            </a:r>
            <a:r>
              <a:rPr lang="en-US" sz="1200" b="1" dirty="0" smtClean="0">
                <a:solidFill>
                  <a:srgbClr val="002060"/>
                </a:solidFill>
              </a:rPr>
              <a:t>Eureka Server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921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Distributed Trace – Spring Cloud Sleuth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21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Service Registry 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</a:t>
            </a:r>
            <a:r>
              <a:rPr lang="en-US" sz="1200" b="1" dirty="0" smtClean="0">
                <a:solidFill>
                  <a:srgbClr val="002060"/>
                </a:solidFill>
              </a:rPr>
              <a:t>Eureka Server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67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Distributed Trace </a:t>
            </a:r>
            <a:r>
              <a:rPr lang="en-US" sz="2800" b="1" dirty="0" err="1" smtClean="0">
                <a:solidFill>
                  <a:srgbClr val="002060"/>
                </a:solidFill>
              </a:rPr>
              <a:t>Dashabord</a:t>
            </a:r>
            <a:r>
              <a:rPr lang="en-US" sz="2800" b="1" dirty="0" smtClean="0">
                <a:solidFill>
                  <a:srgbClr val="002060"/>
                </a:solidFill>
              </a:rPr>
              <a:t> – Spring Cloud </a:t>
            </a:r>
            <a:r>
              <a:rPr lang="en-US" sz="2800" b="1" dirty="0" err="1" smtClean="0">
                <a:solidFill>
                  <a:srgbClr val="002060"/>
                </a:solidFill>
              </a:rPr>
              <a:t>Zapin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22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3852153" y="2438400"/>
            <a:ext cx="5097294" cy="4105076"/>
          </a:xfrm>
          <a:prstGeom prst="roundRect">
            <a:avLst>
              <a:gd name="adj" fmla="val 146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How to use ?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/>
              <a:t>         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b="1" dirty="0" smtClean="0">
                <a:solidFill>
                  <a:srgbClr val="002060"/>
                </a:solidFill>
              </a:rPr>
              <a:t>Dependencies</a:t>
            </a: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compile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rg.springframework.cloud:spring-cloud-starter-zuul</a:t>
            </a: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ＭＳ Ｐゴシック" charset="0"/>
              <a:cs typeface="MS PGothic"/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compile : org.springframework.boot:spring-boot-starter-web</a:t>
            </a: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testCompile : org.springframework.boot:spring-boot-starter-tes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Enable Zuul proxy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Enable Zuul proxy with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@EnableZuulProxy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notation to turn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</a:t>
            </a:r>
            <a:r>
              <a:rPr lang="en-US" sz="1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o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</a:p>
          <a:p>
            <a:pPr marR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reverse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xy that forwards relevant calls to other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application.propertie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2060"/>
                </a:solidFill>
              </a:rPr>
              <a:t>Configuring filters (Optional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002060"/>
                </a:solidFill>
              </a:rPr>
              <a:t>Zuul.properties (Optional</a:t>
            </a:r>
            <a:r>
              <a:rPr lang="en-US" sz="1000" b="1" dirty="0">
                <a:solidFill>
                  <a:srgbClr val="002060"/>
                </a:solidFill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 smtClean="0">
              <a:solidFill>
                <a:srgbClr val="002060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b="1" dirty="0">
              <a:solidFill>
                <a:srgbClr val="002060"/>
              </a:solidFill>
            </a:endParaRPr>
          </a:p>
          <a:p>
            <a:pPr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392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Need for the Service Registry ?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</a:p>
          <a:p>
            <a:pPr marL="91440" lvl="0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24400" y="609600"/>
            <a:ext cx="419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/>
            <a:r>
              <a:rPr lang="en-US" sz="1200" b="1" dirty="0">
                <a:solidFill>
                  <a:srgbClr val="002060"/>
                </a:solidFill>
              </a:rPr>
              <a:t>About </a:t>
            </a:r>
            <a:r>
              <a:rPr lang="en-US" sz="1200" b="1" dirty="0" smtClean="0">
                <a:solidFill>
                  <a:srgbClr val="002060"/>
                </a:solidFill>
              </a:rPr>
              <a:t>Eureka Server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vides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ynamic routing, monitoring , resiliency, security etc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 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lances the load with the help of Ribbon Client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dule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93" y="2438400"/>
            <a:ext cx="350640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200" b="1" dirty="0">
                <a:solidFill>
                  <a:srgbClr val="002060"/>
                </a:solidFill>
              </a:rPr>
              <a:t>Key </a:t>
            </a:r>
            <a:r>
              <a:rPr lang="en-US" sz="1200" b="1" dirty="0" smtClean="0">
                <a:solidFill>
                  <a:srgbClr val="002060"/>
                </a:solidFill>
              </a:rPr>
              <a:t>features</a:t>
            </a:r>
          </a:p>
          <a:p>
            <a:pPr marL="91440" lvl="0"/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endParaRPr lang="en-US" sz="1200" b="1" dirty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entic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thorization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Audit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>
                <a:solidFill>
                  <a:srgbClr val="002060"/>
                </a:solidFill>
              </a:rPr>
              <a:t>Dynamic </a:t>
            </a:r>
            <a:r>
              <a:rPr lang="en-US" sz="1000" b="1" dirty="0" smtClean="0">
                <a:solidFill>
                  <a:srgbClr val="002060"/>
                </a:solidFill>
              </a:rPr>
              <a:t>Routing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Load Balancing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r>
              <a:rPr lang="en-US" sz="1000" b="1" dirty="0" smtClean="0">
                <a:solidFill>
                  <a:srgbClr val="002060"/>
                </a:solidFill>
              </a:rPr>
              <a:t>Filer support :</a:t>
            </a:r>
          </a:p>
          <a:p>
            <a:pPr marL="91440" lvl="0"/>
            <a:endParaRPr lang="en-US" sz="1000" b="1" dirty="0" smtClean="0">
              <a:solidFill>
                <a:srgbClr val="002060"/>
              </a:solidFill>
            </a:endParaRPr>
          </a:p>
          <a:p>
            <a:pPr marL="91440" lvl="0"/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091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CA4AC-7F92-45C2-BB75-3EBFF233EE59}" type="datetime1">
              <a:rPr lang="en-US" smtClean="0"/>
              <a:pPr/>
              <a:t>12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590800" y="2743200"/>
            <a:ext cx="5029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 smtClean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Backup Slides</a:t>
            </a:r>
            <a:endParaRPr lang="en-US" sz="5400" b="1" dirty="0">
              <a:solidFill>
                <a:srgbClr val="002060"/>
              </a:solidFill>
              <a:latin typeface="+mj-lt"/>
              <a:ea typeface="ＭＳ Ｐゴシック" charset="0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013896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oftware Architecture </a:t>
            </a:r>
            <a:r>
              <a:rPr lang="en-US" sz="2800" b="1" dirty="0">
                <a:solidFill>
                  <a:srgbClr val="002060"/>
                </a:solidFill>
              </a:rPr>
              <a:t>E</a:t>
            </a:r>
            <a:r>
              <a:rPr lang="en-US" sz="2800" b="1" dirty="0" smtClean="0">
                <a:solidFill>
                  <a:srgbClr val="002060"/>
                </a:solidFill>
              </a:rPr>
              <a:t>volution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3</a:t>
            </a:fld>
            <a:endParaRPr lang="en-US" sz="1000" b="1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34" name="Diagram 33"/>
          <p:cNvGraphicFramePr/>
          <p:nvPr>
            <p:extLst>
              <p:ext uri="{D42A27DB-BD31-4B8C-83A1-F6EECF244321}">
                <p14:modId xmlns:p14="http://schemas.microsoft.com/office/powerpoint/2010/main" val="1022360737"/>
              </p:ext>
            </p:extLst>
          </p:nvPr>
        </p:nvGraphicFramePr>
        <p:xfrm>
          <a:off x="381000" y="533400"/>
          <a:ext cx="8763000" cy="927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360242" y="1371600"/>
            <a:ext cx="1379220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Before 1990</a:t>
            </a:r>
            <a:endParaRPr lang="en-US" sz="1200" b="1" dirty="0"/>
          </a:p>
        </p:txBody>
      </p:sp>
      <p:sp>
        <p:nvSpPr>
          <p:cNvPr id="11" name="Rounded Rectangle 10"/>
          <p:cNvSpPr/>
          <p:nvPr/>
        </p:nvSpPr>
        <p:spPr>
          <a:xfrm>
            <a:off x="1815662" y="1371600"/>
            <a:ext cx="1379220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Since ~ </a:t>
            </a:r>
            <a:r>
              <a:rPr lang="en-US" sz="1200" b="1" dirty="0" smtClean="0"/>
              <a:t>1990</a:t>
            </a:r>
            <a:endParaRPr lang="en-US" sz="12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3258470" y="1371600"/>
            <a:ext cx="1379220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Since ~ </a:t>
            </a:r>
            <a:r>
              <a:rPr lang="en-US" sz="1200" b="1" dirty="0" smtClean="0"/>
              <a:t>1995</a:t>
            </a:r>
            <a:endParaRPr lang="en-US" sz="1200" b="1" dirty="0"/>
          </a:p>
        </p:txBody>
      </p:sp>
      <p:sp>
        <p:nvSpPr>
          <p:cNvPr id="13" name="Rounded Rectangle 12"/>
          <p:cNvSpPr/>
          <p:nvPr/>
        </p:nvSpPr>
        <p:spPr>
          <a:xfrm>
            <a:off x="4713890" y="1371600"/>
            <a:ext cx="1379220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Since ~2005</a:t>
            </a:r>
            <a:endParaRPr lang="en-US" sz="1200" b="1" dirty="0"/>
          </a:p>
        </p:txBody>
      </p:sp>
      <p:sp>
        <p:nvSpPr>
          <p:cNvPr id="14" name="Rounded Rectangle 13"/>
          <p:cNvSpPr/>
          <p:nvPr/>
        </p:nvSpPr>
        <p:spPr>
          <a:xfrm>
            <a:off x="6154070" y="1371600"/>
            <a:ext cx="1379220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Since ~ </a:t>
            </a:r>
            <a:r>
              <a:rPr lang="en-US" sz="1200" b="1" dirty="0" smtClean="0"/>
              <a:t>2010</a:t>
            </a:r>
            <a:endParaRPr lang="en-US" sz="1200" b="1" dirty="0"/>
          </a:p>
        </p:txBody>
      </p:sp>
      <p:sp>
        <p:nvSpPr>
          <p:cNvPr id="15" name="Rounded Rectangle 14"/>
          <p:cNvSpPr/>
          <p:nvPr/>
        </p:nvSpPr>
        <p:spPr>
          <a:xfrm>
            <a:off x="7609490" y="1371600"/>
            <a:ext cx="1379220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Since ~ </a:t>
            </a:r>
            <a:r>
              <a:rPr lang="en-US" sz="1200" b="1" dirty="0" smtClean="0"/>
              <a:t>2015</a:t>
            </a:r>
            <a:endParaRPr lang="en-US" sz="1200" b="1" dirty="0"/>
          </a:p>
        </p:txBody>
      </p:sp>
      <p:sp>
        <p:nvSpPr>
          <p:cNvPr id="16" name="Rounded Rectangle 15"/>
          <p:cNvSpPr/>
          <p:nvPr/>
        </p:nvSpPr>
        <p:spPr>
          <a:xfrm>
            <a:off x="360242" y="2175640"/>
            <a:ext cx="1379220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voids manual effort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815662" y="2175640"/>
            <a:ext cx="1379220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lows concurrent users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255842" y="2175640"/>
            <a:ext cx="1379220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duce 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ployment costs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711262" y="2175640"/>
            <a:ext cx="1379220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-usability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6151442" y="2175640"/>
            <a:ext cx="1379220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riction less Integration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7606862" y="2175640"/>
            <a:ext cx="1379220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gile delivery</a:t>
            </a:r>
          </a:p>
          <a:p>
            <a:endParaRPr lang="en-US" sz="12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conomical scaling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360242" y="3132080"/>
            <a:ext cx="1379220" cy="15923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nly one user can access the application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1815662" y="3132080"/>
            <a:ext cx="1379220" cy="15923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consistent client vers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igh deployment cost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3255842" y="3132080"/>
            <a:ext cx="1379220" cy="15923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loed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ack of re-use across systems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711262" y="3132080"/>
            <a:ext cx="1379220" cy="15923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plex Integ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pensive Service changes as they bundled together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151442" y="3132080"/>
            <a:ext cx="1379220" cy="15923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nable to handle un-predictable load</a:t>
            </a:r>
          </a:p>
          <a:p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pensiv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vice changes as they bundled togeth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7606862" y="3132080"/>
            <a:ext cx="1379220" cy="15923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nable to handle un-predictable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Can be solved by making as a cloud-native application)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 rot="16200000">
            <a:off x="-581641" y="3816198"/>
            <a:ext cx="1519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Challenges</a:t>
            </a:r>
            <a:endParaRPr lang="en-US" sz="1200" b="1" dirty="0"/>
          </a:p>
        </p:txBody>
      </p:sp>
      <p:sp>
        <p:nvSpPr>
          <p:cNvPr id="29" name="TextBox 28"/>
          <p:cNvSpPr txBox="1"/>
          <p:nvPr/>
        </p:nvSpPr>
        <p:spPr>
          <a:xfrm rot="16200000">
            <a:off x="-256398" y="2496967"/>
            <a:ext cx="919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Benefits</a:t>
            </a:r>
            <a:endParaRPr lang="en-US" sz="1200" b="1" dirty="0"/>
          </a:p>
        </p:txBody>
      </p:sp>
      <p:sp>
        <p:nvSpPr>
          <p:cNvPr id="30" name="TextBox 29"/>
          <p:cNvSpPr txBox="1"/>
          <p:nvPr/>
        </p:nvSpPr>
        <p:spPr>
          <a:xfrm rot="16200000">
            <a:off x="-203084" y="1614099"/>
            <a:ext cx="76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Timeline</a:t>
            </a:r>
            <a:endParaRPr lang="en-US" sz="1200" b="1" dirty="0"/>
          </a:p>
        </p:txBody>
      </p:sp>
      <p:sp>
        <p:nvSpPr>
          <p:cNvPr id="31" name="TextBox 30"/>
          <p:cNvSpPr txBox="1"/>
          <p:nvPr/>
        </p:nvSpPr>
        <p:spPr>
          <a:xfrm rot="16200000">
            <a:off x="-189579" y="757140"/>
            <a:ext cx="9196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Application</a:t>
            </a:r>
          </a:p>
          <a:p>
            <a:pPr algn="ctr"/>
            <a:r>
              <a:rPr lang="en-US" sz="1200" b="1" dirty="0" smtClean="0"/>
              <a:t>Types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178962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onolith Application Limitations/Challenge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457200" y="762000"/>
          <a:ext cx="8458200" cy="571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4</a:t>
            </a:fld>
            <a:endParaRPr lang="en-US" sz="1000" b="1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</p:spTree>
    <p:extLst>
      <p:ext uri="{BB962C8B-B14F-4D97-AF65-F5344CB8AC3E}">
        <p14:creationId xmlns:p14="http://schemas.microsoft.com/office/powerpoint/2010/main" val="2410124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304800" y="685800"/>
            <a:ext cx="457200" cy="37338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Benefit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adaption – Benefits / Challenge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9889523"/>
              </p:ext>
            </p:extLst>
          </p:nvPr>
        </p:nvGraphicFramePr>
        <p:xfrm>
          <a:off x="828675" y="685800"/>
          <a:ext cx="8229600" cy="3733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533400" y="6629400"/>
            <a:ext cx="20574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74528" y="6629400"/>
            <a:ext cx="440871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5</a:t>
            </a:fld>
            <a:endParaRPr lang="en-US" sz="1000" b="1" dirty="0"/>
          </a:p>
        </p:txBody>
      </p:sp>
      <p:graphicFrame>
        <p:nvGraphicFramePr>
          <p:cNvPr id="12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5136135"/>
              </p:ext>
            </p:extLst>
          </p:nvPr>
        </p:nvGraphicFramePr>
        <p:xfrm>
          <a:off x="838200" y="4724400"/>
          <a:ext cx="8229600" cy="182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3" name="Rounded Rectangle 12"/>
          <p:cNvSpPr/>
          <p:nvPr/>
        </p:nvSpPr>
        <p:spPr>
          <a:xfrm>
            <a:off x="381000" y="4648200"/>
            <a:ext cx="8686800" cy="1981200"/>
          </a:xfrm>
          <a:prstGeom prst="roundRect">
            <a:avLst>
              <a:gd name="adj" fmla="val 2516"/>
            </a:avLst>
          </a:prstGeom>
          <a:noFill/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en-US" b="1" dirty="0">
                <a:solidFill>
                  <a:srgbClr val="002060"/>
                </a:solidFill>
              </a:rPr>
              <a:t>Challenges</a:t>
            </a:r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</p:spTree>
    <p:extLst>
      <p:ext uri="{BB962C8B-B14F-4D97-AF65-F5344CB8AC3E}">
        <p14:creationId xmlns:p14="http://schemas.microsoft.com/office/powerpoint/2010/main" val="3044639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ounded Rectangle 83"/>
          <p:cNvSpPr/>
          <p:nvPr/>
        </p:nvSpPr>
        <p:spPr bwMode="auto">
          <a:xfrm>
            <a:off x="419100" y="3709479"/>
            <a:ext cx="8496300" cy="2850407"/>
          </a:xfrm>
          <a:prstGeom prst="roundRect">
            <a:avLst>
              <a:gd name="adj" fmla="val 1882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2060"/>
                </a:solidFill>
              </a:rPr>
              <a:t>Anatomy of a microservice platform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ecosystem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6</a:t>
            </a:fld>
            <a:endParaRPr lang="en-US" sz="1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03926" y="581765"/>
            <a:ext cx="43204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What is needed to address the challenges ?</a:t>
            </a:r>
            <a:endParaRPr lang="en-US" sz="1400" b="1" dirty="0">
              <a:solidFill>
                <a:srgbClr val="002060"/>
              </a:solidFill>
            </a:endParaRPr>
          </a:p>
        </p:txBody>
      </p:sp>
      <p:pic>
        <p:nvPicPr>
          <p:cNvPr id="47" name="Picture 2" descr="C:\Users\U551178\Desktop\BPM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5442" y="5490571"/>
            <a:ext cx="405624" cy="266825"/>
          </a:xfrm>
          <a:prstGeom prst="rect">
            <a:avLst/>
          </a:prstGeom>
          <a:noFill/>
          <a:ln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Group 6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996258" y="6055946"/>
            <a:ext cx="383865" cy="285151"/>
            <a:chOff x="8403431" y="4775626"/>
            <a:chExt cx="1169520" cy="981937"/>
          </a:xfrm>
        </p:grpSpPr>
        <p:sp>
          <p:nvSpPr>
            <p:cNvPr id="51" name="Freeform 3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538081">
              <a:off x="9027836" y="4775626"/>
              <a:ext cx="545115" cy="548001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76B2E4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52" name="Freeform 34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403431" y="4832658"/>
              <a:ext cx="664049" cy="667022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066BB0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54" name="Freeform 34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1469594">
              <a:off x="8931201" y="5308749"/>
              <a:ext cx="448482" cy="448814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A5CCED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55" name="Rounded Rectangle 54"/>
          <p:cNvSpPr/>
          <p:nvPr/>
        </p:nvSpPr>
        <p:spPr bwMode="auto">
          <a:xfrm>
            <a:off x="7779255" y="5275052"/>
            <a:ext cx="802857" cy="491919"/>
          </a:xfrm>
          <a:prstGeom prst="roundRect">
            <a:avLst>
              <a:gd name="adj" fmla="val 13101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BPM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56" name="Rounded Rectangle 55"/>
          <p:cNvSpPr/>
          <p:nvPr/>
        </p:nvSpPr>
        <p:spPr bwMode="auto">
          <a:xfrm rot="16200000">
            <a:off x="1408136" y="4877521"/>
            <a:ext cx="2333023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API Gateway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58" name="Rounded Rectangle 57"/>
          <p:cNvSpPr/>
          <p:nvPr/>
        </p:nvSpPr>
        <p:spPr bwMode="auto">
          <a:xfrm rot="5400000">
            <a:off x="6589755" y="2881873"/>
            <a:ext cx="914184" cy="324326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59" name="Rounded Rectangle 58"/>
          <p:cNvSpPr/>
          <p:nvPr/>
        </p:nvSpPr>
        <p:spPr bwMode="auto">
          <a:xfrm rot="5400000">
            <a:off x="6006840" y="3604227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0" name="Rounded Rectangle 59"/>
          <p:cNvSpPr/>
          <p:nvPr/>
        </p:nvSpPr>
        <p:spPr bwMode="auto">
          <a:xfrm rot="5400000">
            <a:off x="6124288" y="3709002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1" name="Rounded Rectangle 60"/>
          <p:cNvSpPr/>
          <p:nvPr/>
        </p:nvSpPr>
        <p:spPr bwMode="auto">
          <a:xfrm rot="5400000">
            <a:off x="6249687" y="3823302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Domain 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2" name="Rounded Rectangle 61"/>
          <p:cNvSpPr/>
          <p:nvPr/>
        </p:nvSpPr>
        <p:spPr bwMode="auto">
          <a:xfrm rot="5400000">
            <a:off x="3696596" y="3555747"/>
            <a:ext cx="914184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64" name="Rounded Rectangle 63"/>
          <p:cNvSpPr/>
          <p:nvPr/>
        </p:nvSpPr>
        <p:spPr bwMode="auto">
          <a:xfrm rot="5400000">
            <a:off x="3801950" y="3582281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5" name="Rounded Rectangle 64"/>
          <p:cNvSpPr/>
          <p:nvPr/>
        </p:nvSpPr>
        <p:spPr bwMode="auto">
          <a:xfrm rot="5400000">
            <a:off x="3913021" y="3687056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7" name="Rounded Rectangle 66"/>
          <p:cNvSpPr/>
          <p:nvPr/>
        </p:nvSpPr>
        <p:spPr bwMode="auto">
          <a:xfrm rot="5400000">
            <a:off x="4027321" y="3801356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UI 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0" name="Rounded Rectangle 69"/>
          <p:cNvSpPr/>
          <p:nvPr/>
        </p:nvSpPr>
        <p:spPr bwMode="auto">
          <a:xfrm>
            <a:off x="7782011" y="5863571"/>
            <a:ext cx="795273" cy="516333"/>
          </a:xfrm>
          <a:prstGeom prst="roundRect">
            <a:avLst>
              <a:gd name="adj" fmla="val 13270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Service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cxnSp>
        <p:nvCxnSpPr>
          <p:cNvPr id="71" name="Straight Connector 70"/>
          <p:cNvCxnSpPr>
            <a:endCxn id="75" idx="0"/>
          </p:cNvCxnSpPr>
          <p:nvPr/>
        </p:nvCxnSpPr>
        <p:spPr bwMode="auto">
          <a:xfrm>
            <a:off x="8182558" y="4960596"/>
            <a:ext cx="1" cy="2315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ounded Rectangle 81"/>
          <p:cNvSpPr/>
          <p:nvPr/>
        </p:nvSpPr>
        <p:spPr bwMode="auto">
          <a:xfrm rot="5400000">
            <a:off x="3493404" y="3756407"/>
            <a:ext cx="952042" cy="1919356"/>
          </a:xfrm>
          <a:prstGeom prst="roundRect">
            <a:avLst>
              <a:gd name="adj" fmla="val 7436"/>
            </a:avLst>
          </a:prstGeom>
          <a:noFill/>
          <a:ln w="1905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9" name="Straight Connector 88"/>
          <p:cNvCxnSpPr/>
          <p:nvPr/>
        </p:nvCxnSpPr>
        <p:spPr bwMode="auto">
          <a:xfrm>
            <a:off x="1743815" y="4267200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/>
          <p:cNvCxnSpPr/>
          <p:nvPr/>
        </p:nvCxnSpPr>
        <p:spPr bwMode="auto">
          <a:xfrm>
            <a:off x="1798495" y="4889022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/>
          <p:cNvCxnSpPr/>
          <p:nvPr/>
        </p:nvCxnSpPr>
        <p:spPr bwMode="auto">
          <a:xfrm>
            <a:off x="1743815" y="6096000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51" name="Picture 3" descr="C:\Menda\Tech\InfoKeys\Call_Center_Agent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72331" y="5791200"/>
            <a:ext cx="533400" cy="609600"/>
          </a:xfrm>
          <a:prstGeom prst="rect">
            <a:avLst/>
          </a:prstGeom>
          <a:noFill/>
        </p:spPr>
      </p:pic>
      <p:pic>
        <p:nvPicPr>
          <p:cNvPr id="2052" name="Picture 4" descr="C:\Menda\Tech\InfoKeys\Web2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072331" y="4638140"/>
            <a:ext cx="685800" cy="533400"/>
          </a:xfrm>
          <a:prstGeom prst="rect">
            <a:avLst/>
          </a:prstGeom>
          <a:noFill/>
        </p:spPr>
      </p:pic>
      <p:pic>
        <p:nvPicPr>
          <p:cNvPr id="2053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072331" y="4038600"/>
            <a:ext cx="671484" cy="558764"/>
          </a:xfrm>
          <a:prstGeom prst="rect">
            <a:avLst/>
          </a:prstGeom>
          <a:noFill/>
        </p:spPr>
      </p:pic>
      <p:sp>
        <p:nvSpPr>
          <p:cNvPr id="63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66" name="Rounded Rectangle 65"/>
          <p:cNvSpPr/>
          <p:nvPr/>
        </p:nvSpPr>
        <p:spPr bwMode="auto">
          <a:xfrm>
            <a:off x="3282131" y="5813812"/>
            <a:ext cx="2923250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Registry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9" name="Rounded Rectangle 68"/>
          <p:cNvSpPr/>
          <p:nvPr/>
        </p:nvSpPr>
        <p:spPr bwMode="auto">
          <a:xfrm>
            <a:off x="4764820" y="5275052"/>
            <a:ext cx="1440561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Aggregator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2" name="Rounded Rectangle 71"/>
          <p:cNvSpPr/>
          <p:nvPr/>
        </p:nvSpPr>
        <p:spPr bwMode="auto">
          <a:xfrm>
            <a:off x="3297370" y="5275052"/>
            <a:ext cx="1369879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shboard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3" name="Rounded Rectangle 72"/>
          <p:cNvSpPr/>
          <p:nvPr/>
        </p:nvSpPr>
        <p:spPr bwMode="auto">
          <a:xfrm>
            <a:off x="6300071" y="5813812"/>
            <a:ext cx="110393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onfiguration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4" name="Rounded Rectangle 73"/>
          <p:cNvSpPr/>
          <p:nvPr/>
        </p:nvSpPr>
        <p:spPr bwMode="auto">
          <a:xfrm rot="16200000">
            <a:off x="2266126" y="5745248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Loa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Balanc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5" name="Rounded Rectangle 74"/>
          <p:cNvSpPr/>
          <p:nvPr/>
        </p:nvSpPr>
        <p:spPr bwMode="auto">
          <a:xfrm>
            <a:off x="7696639" y="5192106"/>
            <a:ext cx="971839" cy="128489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>
            <a:off x="3535755" y="4585929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ircuit Break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45" name="Straight Connector 44"/>
          <p:cNvCxnSpPr>
            <a:stCxn id="62" idx="0"/>
            <a:endCxn id="58" idx="2"/>
          </p:cNvCxnSpPr>
          <p:nvPr/>
        </p:nvCxnSpPr>
        <p:spPr>
          <a:xfrm>
            <a:off x="5101445" y="4503504"/>
            <a:ext cx="3237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ounded Rectangle 94"/>
          <p:cNvSpPr/>
          <p:nvPr/>
        </p:nvSpPr>
        <p:spPr bwMode="auto">
          <a:xfrm rot="5400000">
            <a:off x="4746011" y="3634517"/>
            <a:ext cx="1181507" cy="4261669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2048" name="Straight Connector 2047"/>
          <p:cNvCxnSpPr>
            <a:stCxn id="62" idx="3"/>
          </p:cNvCxnSpPr>
          <p:nvPr/>
        </p:nvCxnSpPr>
        <p:spPr>
          <a:xfrm>
            <a:off x="4153688" y="4960596"/>
            <a:ext cx="0" cy="20003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50" name="Straight Connector 2049"/>
          <p:cNvCxnSpPr/>
          <p:nvPr/>
        </p:nvCxnSpPr>
        <p:spPr>
          <a:xfrm>
            <a:off x="6372975" y="4960596"/>
            <a:ext cx="0" cy="1829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>
            <a:endCxn id="95" idx="2"/>
          </p:cNvCxnSpPr>
          <p:nvPr/>
        </p:nvCxnSpPr>
        <p:spPr bwMode="auto">
          <a:xfrm>
            <a:off x="2857761" y="5765350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>
            <a:endCxn id="62" idx="2"/>
          </p:cNvCxnSpPr>
          <p:nvPr/>
        </p:nvCxnSpPr>
        <p:spPr bwMode="auto">
          <a:xfrm>
            <a:off x="2857762" y="4503504"/>
            <a:ext cx="34816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Rounded Rectangle 110"/>
          <p:cNvSpPr/>
          <p:nvPr/>
        </p:nvSpPr>
        <p:spPr bwMode="auto">
          <a:xfrm>
            <a:off x="4502502" y="4578648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race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2" name="Rounded Rectangle 111"/>
          <p:cNvSpPr/>
          <p:nvPr/>
        </p:nvSpPr>
        <p:spPr bwMode="auto">
          <a:xfrm>
            <a:off x="5755817" y="4605410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ircuit Break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6722564" y="4598129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race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1" name="Flowchart: Magnetic Disk 80"/>
          <p:cNvSpPr/>
          <p:nvPr/>
        </p:nvSpPr>
        <p:spPr bwMode="auto">
          <a:xfrm>
            <a:off x="7529903" y="4084396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8" name="Flowchart: Magnetic Disk 77"/>
          <p:cNvSpPr/>
          <p:nvPr/>
        </p:nvSpPr>
        <p:spPr bwMode="auto">
          <a:xfrm>
            <a:off x="7627023" y="4210252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8" name="Flowchart: Magnetic Disk 67"/>
          <p:cNvSpPr/>
          <p:nvPr/>
        </p:nvSpPr>
        <p:spPr bwMode="auto">
          <a:xfrm>
            <a:off x="7718333" y="4314906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87" name="Straight Connector 86"/>
          <p:cNvCxnSpPr>
            <a:stCxn id="68" idx="2"/>
            <a:endCxn id="61" idx="0"/>
          </p:cNvCxnSpPr>
          <p:nvPr/>
        </p:nvCxnSpPr>
        <p:spPr bwMode="auto">
          <a:xfrm flipH="1">
            <a:off x="7272867" y="4597364"/>
            <a:ext cx="445466" cy="76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26" name="Picture 2" descr="Image result for ivr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153" y="5235723"/>
            <a:ext cx="739242" cy="504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Straight Connector 82"/>
          <p:cNvCxnSpPr/>
          <p:nvPr/>
        </p:nvCxnSpPr>
        <p:spPr bwMode="auto">
          <a:xfrm>
            <a:off x="1798495" y="5495026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925763"/>
              </p:ext>
            </p:extLst>
          </p:nvPr>
        </p:nvGraphicFramePr>
        <p:xfrm>
          <a:off x="424149" y="899702"/>
          <a:ext cx="8503850" cy="237689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253726"/>
                <a:gridCol w="2250124"/>
              </a:tblGrid>
              <a:tr h="27115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halleng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9601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vision to register and discover</a:t>
                      </a:r>
                      <a:r>
                        <a:rPr lang="en-US" sz="1200" baseline="0" dirty="0" smtClean="0"/>
                        <a:t> the service instanc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rvice</a:t>
                      </a:r>
                      <a:r>
                        <a:rPr lang="en-US" sz="1200" baseline="0" dirty="0" smtClean="0"/>
                        <a:t> Registry</a:t>
                      </a:r>
                      <a:endParaRPr lang="en-US" sz="1200" dirty="0"/>
                    </a:p>
                  </a:txBody>
                  <a:tcPr/>
                </a:tc>
              </a:tr>
              <a:tr h="29601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rvice</a:t>
                      </a:r>
                      <a:r>
                        <a:rPr lang="en-US" sz="1200" baseline="0" dirty="0" smtClean="0"/>
                        <a:t> Configuration</a:t>
                      </a:r>
                      <a:endParaRPr lang="en-US" sz="1200" dirty="0"/>
                    </a:p>
                  </a:txBody>
                  <a:tcPr/>
                </a:tc>
              </a:tr>
              <a:tr h="29601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rvice</a:t>
                      </a:r>
                      <a:r>
                        <a:rPr lang="en-US" sz="1200" baseline="0" dirty="0" smtClean="0"/>
                        <a:t> Health Dashboard</a:t>
                      </a:r>
                      <a:endParaRPr lang="en-US" sz="1200" dirty="0"/>
                    </a:p>
                  </a:txBody>
                  <a:tcPr/>
                </a:tc>
              </a:tr>
              <a:tr h="29601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PI Gateway</a:t>
                      </a:r>
                      <a:endParaRPr lang="en-US" sz="1200" dirty="0"/>
                    </a:p>
                  </a:txBody>
                  <a:tcPr/>
                </a:tc>
              </a:tr>
              <a:tr h="29601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istributed Tracing</a:t>
                      </a:r>
                      <a:endParaRPr lang="en-US" sz="1200" dirty="0"/>
                    </a:p>
                  </a:txBody>
                  <a:tcPr/>
                </a:tc>
              </a:tr>
              <a:tr h="29601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ircuit Breaker</a:t>
                      </a:r>
                      <a:endParaRPr lang="en-US" sz="1200" dirty="0"/>
                    </a:p>
                  </a:txBody>
                  <a:tcPr/>
                </a:tc>
              </a:tr>
              <a:tr h="29601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7" name="Rounded Rectangle 56"/>
          <p:cNvSpPr/>
          <p:nvPr/>
        </p:nvSpPr>
        <p:spPr bwMode="auto">
          <a:xfrm>
            <a:off x="6300071" y="5266575"/>
            <a:ext cx="110393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equest Tra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shboard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252541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pring Cloud Netflix ecosystem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7</a:t>
            </a:fld>
            <a:endParaRPr lang="en-US" sz="1000" b="1" dirty="0"/>
          </a:p>
        </p:txBody>
      </p:sp>
      <p:sp>
        <p:nvSpPr>
          <p:cNvPr id="63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pic>
        <p:nvPicPr>
          <p:cNvPr id="66" name="Picture 2" descr="C:\Users\U551178\Desktop\BPM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711" y="2233190"/>
            <a:ext cx="405624" cy="266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9" name="Group 6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914527" y="2798565"/>
            <a:ext cx="383865" cy="285151"/>
            <a:chOff x="8403431" y="4775626"/>
            <a:chExt cx="1169520" cy="981937"/>
          </a:xfrm>
        </p:grpSpPr>
        <p:sp>
          <p:nvSpPr>
            <p:cNvPr id="72" name="Freeform 3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538081">
              <a:off x="9027836" y="4775626"/>
              <a:ext cx="545115" cy="548001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76B2E4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73" name="Freeform 34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403431" y="4832658"/>
              <a:ext cx="664049" cy="667022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066BB0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74" name="Freeform 34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1469594">
              <a:off x="8931201" y="5308749"/>
              <a:ext cx="448482" cy="448814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A5CCED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75" name="Rounded Rectangle 74"/>
          <p:cNvSpPr/>
          <p:nvPr/>
        </p:nvSpPr>
        <p:spPr bwMode="auto">
          <a:xfrm>
            <a:off x="7697524" y="2017671"/>
            <a:ext cx="802857" cy="491919"/>
          </a:xfrm>
          <a:prstGeom prst="roundRect">
            <a:avLst>
              <a:gd name="adj" fmla="val 13101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BPM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78" name="Rounded Rectangle 77"/>
          <p:cNvSpPr/>
          <p:nvPr/>
        </p:nvSpPr>
        <p:spPr bwMode="auto">
          <a:xfrm rot="16200000">
            <a:off x="1326405" y="1620140"/>
            <a:ext cx="2333023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uul</a:t>
            </a: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API Gateway</a:t>
            </a:r>
            <a:r>
              <a:rPr lang="en-US" sz="12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)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  </a:t>
            </a:r>
            <a:r>
              <a:rPr lang="en-US" sz="12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5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.</a:t>
            </a:r>
            <a:endParaRPr lang="en-US" sz="500" b="1" dirty="0">
              <a:solidFill>
                <a:srgbClr val="0070C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1" name="Rounded Rectangle 80"/>
          <p:cNvSpPr/>
          <p:nvPr/>
        </p:nvSpPr>
        <p:spPr bwMode="auto">
          <a:xfrm rot="5400000">
            <a:off x="6508024" y="-375508"/>
            <a:ext cx="914184" cy="324326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 rot="5400000">
            <a:off x="5925109" y="34684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5" name="Rounded Rectangle 94"/>
          <p:cNvSpPr/>
          <p:nvPr/>
        </p:nvSpPr>
        <p:spPr bwMode="auto">
          <a:xfrm rot="5400000">
            <a:off x="6042557" y="45162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6" name="Rounded Rectangle 95"/>
          <p:cNvSpPr/>
          <p:nvPr/>
        </p:nvSpPr>
        <p:spPr bwMode="auto">
          <a:xfrm rot="5400000">
            <a:off x="6167956" y="56592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Domain 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9" name="Rounded Rectangle 98"/>
          <p:cNvSpPr/>
          <p:nvPr/>
        </p:nvSpPr>
        <p:spPr bwMode="auto">
          <a:xfrm rot="5400000">
            <a:off x="3614865" y="298366"/>
            <a:ext cx="914184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00" name="Rounded Rectangle 99"/>
          <p:cNvSpPr/>
          <p:nvPr/>
        </p:nvSpPr>
        <p:spPr bwMode="auto">
          <a:xfrm rot="5400000">
            <a:off x="3720219" y="32490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 rot="5400000">
            <a:off x="3831290" y="42967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2" name="Rounded Rectangle 101"/>
          <p:cNvSpPr/>
          <p:nvPr/>
        </p:nvSpPr>
        <p:spPr bwMode="auto">
          <a:xfrm rot="5400000">
            <a:off x="3945590" y="54397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UI 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3" name="Rounded Rectangle 102"/>
          <p:cNvSpPr/>
          <p:nvPr/>
        </p:nvSpPr>
        <p:spPr bwMode="auto">
          <a:xfrm>
            <a:off x="7700280" y="2606190"/>
            <a:ext cx="795273" cy="516333"/>
          </a:xfrm>
          <a:prstGeom prst="roundRect">
            <a:avLst>
              <a:gd name="adj" fmla="val 13270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Service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cxnSp>
        <p:nvCxnSpPr>
          <p:cNvPr id="104" name="Straight Connector 103"/>
          <p:cNvCxnSpPr>
            <a:endCxn id="117" idx="0"/>
          </p:cNvCxnSpPr>
          <p:nvPr/>
        </p:nvCxnSpPr>
        <p:spPr bwMode="auto">
          <a:xfrm>
            <a:off x="8100827" y="1703215"/>
            <a:ext cx="1" cy="2315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/>
          <p:nvPr/>
        </p:nvCxnSpPr>
        <p:spPr bwMode="auto">
          <a:xfrm>
            <a:off x="1662084" y="1009819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/>
          <p:cNvCxnSpPr/>
          <p:nvPr/>
        </p:nvCxnSpPr>
        <p:spPr bwMode="auto">
          <a:xfrm>
            <a:off x="1716764" y="1631641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/>
          <p:cNvCxnSpPr/>
          <p:nvPr/>
        </p:nvCxnSpPr>
        <p:spPr bwMode="auto">
          <a:xfrm>
            <a:off x="1662084" y="2838619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9" name="Picture 3" descr="C:\Menda\Tech\InfoKeys\Call_Center_Agent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90600" y="2533819"/>
            <a:ext cx="533400" cy="609600"/>
          </a:xfrm>
          <a:prstGeom prst="rect">
            <a:avLst/>
          </a:prstGeom>
          <a:noFill/>
        </p:spPr>
      </p:pic>
      <p:pic>
        <p:nvPicPr>
          <p:cNvPr id="110" name="Picture 4" descr="C:\Menda\Tech\InfoKeys\Web2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90600" y="1380759"/>
            <a:ext cx="685800" cy="533400"/>
          </a:xfrm>
          <a:prstGeom prst="rect">
            <a:avLst/>
          </a:prstGeom>
          <a:noFill/>
        </p:spPr>
      </p:pic>
      <p:pic>
        <p:nvPicPr>
          <p:cNvPr id="111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990600" y="781219"/>
            <a:ext cx="671484" cy="558764"/>
          </a:xfrm>
          <a:prstGeom prst="rect">
            <a:avLst/>
          </a:prstGeom>
          <a:noFill/>
        </p:spPr>
      </p:pic>
      <p:sp>
        <p:nvSpPr>
          <p:cNvPr id="112" name="Rounded Rectangle 111"/>
          <p:cNvSpPr/>
          <p:nvPr/>
        </p:nvSpPr>
        <p:spPr bwMode="auto">
          <a:xfrm>
            <a:off x="3200400" y="2521338"/>
            <a:ext cx="2667000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Eureka Server</a:t>
            </a:r>
            <a:r>
              <a:rPr lang="en-US" sz="1200" b="1" dirty="0" smtClean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Registry)</a:t>
            </a:r>
            <a:endParaRPr lang="en-US" sz="12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4740813" y="1977578"/>
            <a:ext cx="1126587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urbin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Statu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Aggregator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4" name="Rounded Rectangle 113"/>
          <p:cNvSpPr/>
          <p:nvPr/>
        </p:nvSpPr>
        <p:spPr bwMode="auto">
          <a:xfrm>
            <a:off x="3209359" y="1977578"/>
            <a:ext cx="145525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Hystrix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</a:t>
            </a:r>
            <a:r>
              <a:rPr lang="en-US" sz="8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Dashboard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>
            <a:off x="5980597" y="2521338"/>
            <a:ext cx="1334603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Confi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Configuration</a:t>
            </a:r>
            <a:r>
              <a:rPr lang="en-US" sz="8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)</a:t>
            </a:r>
          </a:p>
        </p:txBody>
      </p:sp>
      <p:sp>
        <p:nvSpPr>
          <p:cNvPr id="116" name="Rounded Rectangle 115"/>
          <p:cNvSpPr/>
          <p:nvPr/>
        </p:nvSpPr>
        <p:spPr bwMode="auto">
          <a:xfrm rot="16200000">
            <a:off x="2184395" y="2487867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ibbo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lient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7" name="Rounded Rectangle 116"/>
          <p:cNvSpPr/>
          <p:nvPr/>
        </p:nvSpPr>
        <p:spPr bwMode="auto">
          <a:xfrm>
            <a:off x="7614908" y="1934725"/>
            <a:ext cx="971839" cy="128489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18" name="Rounded Rectangle 117"/>
          <p:cNvSpPr/>
          <p:nvPr/>
        </p:nvSpPr>
        <p:spPr bwMode="auto">
          <a:xfrm>
            <a:off x="3454024" y="1328548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119" name="Straight Connector 118"/>
          <p:cNvCxnSpPr>
            <a:stCxn id="99" idx="0"/>
            <a:endCxn id="81" idx="2"/>
          </p:cNvCxnSpPr>
          <p:nvPr/>
        </p:nvCxnSpPr>
        <p:spPr>
          <a:xfrm>
            <a:off x="5019714" y="1246123"/>
            <a:ext cx="3237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0" name="Rounded Rectangle 119"/>
          <p:cNvSpPr/>
          <p:nvPr/>
        </p:nvSpPr>
        <p:spPr bwMode="auto">
          <a:xfrm rot="5400000">
            <a:off x="4678280" y="363136"/>
            <a:ext cx="1181507" cy="4289669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121" name="Straight Connector 120"/>
          <p:cNvCxnSpPr>
            <a:stCxn id="99" idx="3"/>
          </p:cNvCxnSpPr>
          <p:nvPr/>
        </p:nvCxnSpPr>
        <p:spPr>
          <a:xfrm>
            <a:off x="4071957" y="1703215"/>
            <a:ext cx="0" cy="20003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Straight Connector 121"/>
          <p:cNvCxnSpPr/>
          <p:nvPr/>
        </p:nvCxnSpPr>
        <p:spPr>
          <a:xfrm>
            <a:off x="6291244" y="1703215"/>
            <a:ext cx="0" cy="1829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/>
          <p:cNvCxnSpPr>
            <a:endCxn id="120" idx="2"/>
          </p:cNvCxnSpPr>
          <p:nvPr/>
        </p:nvCxnSpPr>
        <p:spPr bwMode="auto">
          <a:xfrm>
            <a:off x="2776030" y="2507969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4" name="Straight Connector 123"/>
          <p:cNvCxnSpPr>
            <a:endCxn id="99" idx="2"/>
          </p:cNvCxnSpPr>
          <p:nvPr/>
        </p:nvCxnSpPr>
        <p:spPr bwMode="auto">
          <a:xfrm>
            <a:off x="2684424" y="1246123"/>
            <a:ext cx="43977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Rounded Rectangle 124"/>
          <p:cNvSpPr/>
          <p:nvPr/>
        </p:nvSpPr>
        <p:spPr bwMode="auto">
          <a:xfrm>
            <a:off x="4420771" y="1321267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6" name="Rounded Rectangle 125"/>
          <p:cNvSpPr/>
          <p:nvPr/>
        </p:nvSpPr>
        <p:spPr bwMode="auto">
          <a:xfrm>
            <a:off x="5674086" y="1348029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7" name="Rounded Rectangle 126"/>
          <p:cNvSpPr/>
          <p:nvPr/>
        </p:nvSpPr>
        <p:spPr bwMode="auto">
          <a:xfrm>
            <a:off x="6640833" y="1340748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8" name="Flowchart: Magnetic Disk 127"/>
          <p:cNvSpPr/>
          <p:nvPr/>
        </p:nvSpPr>
        <p:spPr bwMode="auto">
          <a:xfrm>
            <a:off x="7448172" y="827015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9" name="Flowchart: Magnetic Disk 128"/>
          <p:cNvSpPr/>
          <p:nvPr/>
        </p:nvSpPr>
        <p:spPr bwMode="auto">
          <a:xfrm>
            <a:off x="7545292" y="952871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30" name="Flowchart: Magnetic Disk 129"/>
          <p:cNvSpPr/>
          <p:nvPr/>
        </p:nvSpPr>
        <p:spPr bwMode="auto">
          <a:xfrm>
            <a:off x="7636602" y="1057525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131" name="Straight Connector 130"/>
          <p:cNvCxnSpPr>
            <a:stCxn id="130" idx="2"/>
            <a:endCxn id="96" idx="0"/>
          </p:cNvCxnSpPr>
          <p:nvPr/>
        </p:nvCxnSpPr>
        <p:spPr bwMode="auto">
          <a:xfrm flipH="1">
            <a:off x="7191136" y="1339983"/>
            <a:ext cx="445466" cy="76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32" name="Picture 2" descr="Image result for ivr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422" y="1978342"/>
            <a:ext cx="739242" cy="504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3" name="Straight Connector 132"/>
          <p:cNvCxnSpPr/>
          <p:nvPr/>
        </p:nvCxnSpPr>
        <p:spPr bwMode="auto">
          <a:xfrm>
            <a:off x="1716764" y="2237645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727750514"/>
              </p:ext>
            </p:extLst>
          </p:nvPr>
        </p:nvGraphicFramePr>
        <p:xfrm>
          <a:off x="671458" y="3657600"/>
          <a:ext cx="8243942" cy="28895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34" name="TextBox 133"/>
          <p:cNvSpPr txBox="1"/>
          <p:nvPr/>
        </p:nvSpPr>
        <p:spPr>
          <a:xfrm>
            <a:off x="685800" y="3395990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2060"/>
                </a:solidFill>
              </a:rPr>
              <a:t>Spring Could Core Services</a:t>
            </a:r>
            <a:endParaRPr lang="en-US" sz="1100" b="1" dirty="0">
              <a:solidFill>
                <a:srgbClr val="002060"/>
              </a:solidFill>
            </a:endParaRPr>
          </a:p>
        </p:txBody>
      </p:sp>
      <p:sp>
        <p:nvSpPr>
          <p:cNvPr id="53" name="Rounded Rectangle 52"/>
          <p:cNvSpPr/>
          <p:nvPr/>
        </p:nvSpPr>
        <p:spPr bwMode="auto">
          <a:xfrm>
            <a:off x="5943600" y="1977578"/>
            <a:ext cx="1371600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ea typeface="ＭＳ Ｐゴシック" charset="0"/>
                <a:cs typeface="MS PGothic"/>
              </a:rPr>
              <a:t>Zipkin</a:t>
            </a:r>
            <a:endParaRPr lang="en-US" sz="1200" b="1" dirty="0">
              <a:solidFill>
                <a:schemeClr val="bg1"/>
              </a:solidFill>
              <a:ea typeface="ＭＳ Ｐゴシック" charset="0"/>
              <a:cs typeface="MS PGothic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Request Trace Aggregator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94539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Rounded Rectangle 124"/>
          <p:cNvSpPr/>
          <p:nvPr/>
        </p:nvSpPr>
        <p:spPr bwMode="auto">
          <a:xfrm>
            <a:off x="376592" y="1524001"/>
            <a:ext cx="8615008" cy="3124199"/>
          </a:xfrm>
          <a:prstGeom prst="roundRect">
            <a:avLst>
              <a:gd name="adj" fmla="val 1882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2060"/>
                </a:solidFill>
              </a:rPr>
              <a:t>Service instances &amp; other common platform service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Use Case – Customer’s Accounts Summary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8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27391" y="609600"/>
            <a:ext cx="8764209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100" b="1" dirty="0">
                <a:solidFill>
                  <a:srgbClr val="002060"/>
                </a:solidFill>
              </a:rPr>
              <a:t>Use case :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anking customer can have more than one account. After successful authentication, system should load the accounts summary page containing Customer information and list of accounts and their balances. </a:t>
            </a: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te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 Ignored Authentication/Authorization for simplicity.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ountsSummary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  (</a:t>
            </a:r>
            <a:r>
              <a:rPr lang="en-US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dpoint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 AccountsSummary?custId=1234 </a:t>
            </a:r>
            <a:r>
              <a:rPr lang="en-US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thod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 GET)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(</a:t>
            </a:r>
            <a:r>
              <a:rPr lang="en-US" sz="1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dpoint :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customers/1234 method: GE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Accou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 (endpoint : customers/1234/accounts/    method : GET)</a:t>
            </a:r>
          </a:p>
        </p:txBody>
      </p:sp>
      <p:sp>
        <p:nvSpPr>
          <p:cNvPr id="49" name="Rounded Rectangle 48"/>
          <p:cNvSpPr/>
          <p:nvPr/>
        </p:nvSpPr>
        <p:spPr bwMode="auto">
          <a:xfrm rot="16200000">
            <a:off x="551144" y="2926517"/>
            <a:ext cx="2724741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uul</a:t>
            </a: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ＭＳ Ｐゴシック" charset="0"/>
                <a:cs typeface="MS PGothic"/>
              </a:rPr>
              <a:t>  </a:t>
            </a:r>
            <a:r>
              <a:rPr lang="en-US" sz="8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00)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  </a:t>
            </a:r>
            <a:r>
              <a:rPr lang="en-US" sz="12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5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.</a:t>
            </a:r>
            <a:endParaRPr lang="en-US" sz="500" b="1" dirty="0">
              <a:solidFill>
                <a:srgbClr val="0070C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6" name="Rounded Rectangle 75"/>
          <p:cNvSpPr/>
          <p:nvPr/>
        </p:nvSpPr>
        <p:spPr bwMode="auto">
          <a:xfrm rot="5400000">
            <a:off x="6216467" y="539589"/>
            <a:ext cx="1170347" cy="4075117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79" name="Rounded Rectangle 78"/>
          <p:cNvSpPr/>
          <p:nvPr/>
        </p:nvSpPr>
        <p:spPr bwMode="auto">
          <a:xfrm rot="5400000">
            <a:off x="5211614" y="2211725"/>
            <a:ext cx="496704" cy="1262521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 : 901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0" name="Rounded Rectangle 79"/>
          <p:cNvSpPr/>
          <p:nvPr/>
        </p:nvSpPr>
        <p:spPr bwMode="auto">
          <a:xfrm rot="5400000">
            <a:off x="2907379" y="1629391"/>
            <a:ext cx="1170352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83" name="Rounded Rectangle 82"/>
          <p:cNvSpPr/>
          <p:nvPr/>
        </p:nvSpPr>
        <p:spPr bwMode="auto">
          <a:xfrm rot="5400000">
            <a:off x="3261703" y="1941727"/>
            <a:ext cx="496706" cy="177811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AccountsSummary : 900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6" name="Rounded Rectangle 85"/>
          <p:cNvSpPr/>
          <p:nvPr/>
        </p:nvSpPr>
        <p:spPr bwMode="auto">
          <a:xfrm rot="5400000">
            <a:off x="2832271" y="2001263"/>
            <a:ext cx="952042" cy="1919356"/>
          </a:xfrm>
          <a:prstGeom prst="roundRect">
            <a:avLst>
              <a:gd name="adj" fmla="val 7436"/>
            </a:avLst>
          </a:prstGeom>
          <a:noFill/>
          <a:ln w="1905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7" name="Straight Connector 86"/>
          <p:cNvCxnSpPr/>
          <p:nvPr/>
        </p:nvCxnSpPr>
        <p:spPr bwMode="auto">
          <a:xfrm>
            <a:off x="1069982" y="2512056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8" name="Straight Connector 87"/>
          <p:cNvCxnSpPr/>
          <p:nvPr/>
        </p:nvCxnSpPr>
        <p:spPr bwMode="auto">
          <a:xfrm>
            <a:off x="1151081" y="3907504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1" name="Picture 4" descr="C:\Menda\Tech\InfoKeys\Web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3400" y="3676061"/>
            <a:ext cx="685800" cy="533400"/>
          </a:xfrm>
          <a:prstGeom prst="rect">
            <a:avLst/>
          </a:prstGeom>
          <a:noFill/>
        </p:spPr>
      </p:pic>
      <p:pic>
        <p:nvPicPr>
          <p:cNvPr id="92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7716" y="2283456"/>
            <a:ext cx="671484" cy="558764"/>
          </a:xfrm>
          <a:prstGeom prst="rect">
            <a:avLst/>
          </a:prstGeom>
          <a:noFill/>
        </p:spPr>
      </p:pic>
      <p:sp>
        <p:nvSpPr>
          <p:cNvPr id="93" name="Rounded Rectangle 92"/>
          <p:cNvSpPr/>
          <p:nvPr/>
        </p:nvSpPr>
        <p:spPr bwMode="auto">
          <a:xfrm>
            <a:off x="2620997" y="4013129"/>
            <a:ext cx="6139775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Eureka Server </a:t>
            </a:r>
            <a:r>
              <a:rPr lang="en-US" sz="8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:8010</a:t>
            </a:r>
            <a:r>
              <a:rPr lang="en-US" sz="800" b="1" dirty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)</a:t>
            </a:r>
          </a:p>
        </p:txBody>
      </p:sp>
      <p:sp>
        <p:nvSpPr>
          <p:cNvPr id="94" name="Rounded Rectangle 93"/>
          <p:cNvSpPr/>
          <p:nvPr/>
        </p:nvSpPr>
        <p:spPr bwMode="auto">
          <a:xfrm>
            <a:off x="6982567" y="3435040"/>
            <a:ext cx="1778206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urbin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20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5" name="Rounded Rectangle 94"/>
          <p:cNvSpPr/>
          <p:nvPr/>
        </p:nvSpPr>
        <p:spPr bwMode="auto">
          <a:xfrm>
            <a:off x="4738292" y="3435040"/>
            <a:ext cx="1804968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Hystrix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: 8030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6" name="Rounded Rectangle 95"/>
          <p:cNvSpPr/>
          <p:nvPr/>
        </p:nvSpPr>
        <p:spPr bwMode="auto">
          <a:xfrm>
            <a:off x="2620998" y="3435040"/>
            <a:ext cx="1778116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Confi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40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7" name="Rounded Rectangle 96"/>
          <p:cNvSpPr/>
          <p:nvPr/>
        </p:nvSpPr>
        <p:spPr bwMode="auto">
          <a:xfrm rot="16200000">
            <a:off x="1604993" y="3990104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ibbo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lient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9" name="Rounded Rectangle 98"/>
          <p:cNvSpPr/>
          <p:nvPr/>
        </p:nvSpPr>
        <p:spPr bwMode="auto">
          <a:xfrm>
            <a:off x="2673601" y="2830785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 rot="5400000">
            <a:off x="5101245" y="817467"/>
            <a:ext cx="1181507" cy="6294403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>
            <a:off x="3492555" y="3170950"/>
            <a:ext cx="0" cy="20003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4" name="Straight Connector 103"/>
          <p:cNvCxnSpPr>
            <a:endCxn id="101" idx="2"/>
          </p:cNvCxnSpPr>
          <p:nvPr/>
        </p:nvCxnSpPr>
        <p:spPr bwMode="auto">
          <a:xfrm>
            <a:off x="2196628" y="3964667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104"/>
          <p:cNvCxnSpPr>
            <a:endCxn id="80" idx="2"/>
          </p:cNvCxnSpPr>
          <p:nvPr/>
        </p:nvCxnSpPr>
        <p:spPr bwMode="auto">
          <a:xfrm>
            <a:off x="2196629" y="2577147"/>
            <a:ext cx="348169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6" name="Rounded Rectangle 105"/>
          <p:cNvSpPr/>
          <p:nvPr/>
        </p:nvSpPr>
        <p:spPr bwMode="auto">
          <a:xfrm>
            <a:off x="3657600" y="2830785"/>
            <a:ext cx="692101" cy="194792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8" name="Rounded Rectangle 107"/>
          <p:cNvSpPr/>
          <p:nvPr/>
        </p:nvSpPr>
        <p:spPr bwMode="auto">
          <a:xfrm>
            <a:off x="4876800" y="2830785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1" name="Flowchart: Magnetic Disk 110"/>
          <p:cNvSpPr/>
          <p:nvPr/>
        </p:nvSpPr>
        <p:spPr bwMode="auto">
          <a:xfrm>
            <a:off x="6333226" y="2228261"/>
            <a:ext cx="417679" cy="309650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 rot="5400000">
            <a:off x="3244202" y="1394398"/>
            <a:ext cx="496706" cy="177811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AccountsSummary : 900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6" name="Rounded Rectangle 115"/>
          <p:cNvSpPr/>
          <p:nvPr/>
        </p:nvSpPr>
        <p:spPr bwMode="auto">
          <a:xfrm>
            <a:off x="2673601" y="2283456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7" name="Rounded Rectangle 116"/>
          <p:cNvSpPr/>
          <p:nvPr/>
        </p:nvSpPr>
        <p:spPr bwMode="auto">
          <a:xfrm>
            <a:off x="3657600" y="2283456"/>
            <a:ext cx="692101" cy="194792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8" name="Rounded Rectangle 117"/>
          <p:cNvSpPr/>
          <p:nvPr/>
        </p:nvSpPr>
        <p:spPr bwMode="auto">
          <a:xfrm rot="5400000">
            <a:off x="5209387" y="1659883"/>
            <a:ext cx="496704" cy="1262521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 : 901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9" name="Rounded Rectangle 118"/>
          <p:cNvSpPr/>
          <p:nvPr/>
        </p:nvSpPr>
        <p:spPr bwMode="auto">
          <a:xfrm>
            <a:off x="4876800" y="22789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0" name="Rounded Rectangle 119"/>
          <p:cNvSpPr/>
          <p:nvPr/>
        </p:nvSpPr>
        <p:spPr bwMode="auto">
          <a:xfrm rot="5400000">
            <a:off x="7624431" y="1952769"/>
            <a:ext cx="496704" cy="1780434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Account : 902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1" name="Rounded Rectangle 120"/>
          <p:cNvSpPr/>
          <p:nvPr/>
        </p:nvSpPr>
        <p:spPr bwMode="auto">
          <a:xfrm>
            <a:off x="7357434" y="2830785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2" name="Rounded Rectangle 121"/>
          <p:cNvSpPr/>
          <p:nvPr/>
        </p:nvSpPr>
        <p:spPr bwMode="auto">
          <a:xfrm rot="5400000">
            <a:off x="7622204" y="1400927"/>
            <a:ext cx="496704" cy="1780434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Account : 902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3" name="Rounded Rectangle 122"/>
          <p:cNvSpPr/>
          <p:nvPr/>
        </p:nvSpPr>
        <p:spPr bwMode="auto">
          <a:xfrm>
            <a:off x="7355207" y="22789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4" name="Flowchart: Magnetic Disk 123"/>
          <p:cNvSpPr/>
          <p:nvPr/>
        </p:nvSpPr>
        <p:spPr bwMode="auto">
          <a:xfrm>
            <a:off x="6334421" y="2651290"/>
            <a:ext cx="417679" cy="309650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23" name="Straight Connector 22"/>
          <p:cNvCxnSpPr>
            <a:stCxn id="118" idx="0"/>
            <a:endCxn id="111" idx="2"/>
          </p:cNvCxnSpPr>
          <p:nvPr/>
        </p:nvCxnSpPr>
        <p:spPr>
          <a:xfrm>
            <a:off x="6089000" y="2291144"/>
            <a:ext cx="244226" cy="91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79" idx="0"/>
            <a:endCxn id="111" idx="2"/>
          </p:cNvCxnSpPr>
          <p:nvPr/>
        </p:nvCxnSpPr>
        <p:spPr>
          <a:xfrm flipV="1">
            <a:off x="6091227" y="2383086"/>
            <a:ext cx="241999" cy="4599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122" idx="2"/>
            <a:endCxn id="124" idx="4"/>
          </p:cNvCxnSpPr>
          <p:nvPr/>
        </p:nvCxnSpPr>
        <p:spPr>
          <a:xfrm flipH="1">
            <a:off x="6752100" y="2291144"/>
            <a:ext cx="228239" cy="5149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120" idx="2"/>
            <a:endCxn id="124" idx="4"/>
          </p:cNvCxnSpPr>
          <p:nvPr/>
        </p:nvCxnSpPr>
        <p:spPr>
          <a:xfrm flipH="1" flipV="1">
            <a:off x="6752100" y="2806115"/>
            <a:ext cx="230466" cy="368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376592" y="4724400"/>
            <a:ext cx="861500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2060"/>
                </a:solidFill>
              </a:rPr>
              <a:t>AccountsSummary </a:t>
            </a:r>
            <a:r>
              <a:rPr lang="en-US" sz="1100" b="1" dirty="0">
                <a:solidFill>
                  <a:srgbClr val="002060"/>
                </a:solidFill>
              </a:rPr>
              <a:t>s</a:t>
            </a:r>
            <a:r>
              <a:rPr lang="en-US" sz="1100" b="1" dirty="0" smtClean="0">
                <a:solidFill>
                  <a:srgbClr val="002060"/>
                </a:solidFill>
              </a:rPr>
              <a:t>ervice response:</a:t>
            </a: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</p:txBody>
      </p:sp>
      <p:cxnSp>
        <p:nvCxnSpPr>
          <p:cNvPr id="131" name="Straight Connector 130"/>
          <p:cNvCxnSpPr>
            <a:stCxn id="76" idx="3"/>
          </p:cNvCxnSpPr>
          <p:nvPr/>
        </p:nvCxnSpPr>
        <p:spPr>
          <a:xfrm>
            <a:off x="6801640" y="3162321"/>
            <a:ext cx="0" cy="21159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/>
          <p:cNvCxnSpPr>
            <a:stCxn id="80" idx="0"/>
            <a:endCxn id="76" idx="2"/>
          </p:cNvCxnSpPr>
          <p:nvPr/>
        </p:nvCxnSpPr>
        <p:spPr bwMode="auto">
          <a:xfrm>
            <a:off x="4440312" y="2577148"/>
            <a:ext cx="32377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Use Case – Customer’s Accounts Summary</a:t>
            </a:r>
            <a:r>
              <a:rPr lang="en-US" sz="1400" b="1" dirty="0" smtClean="0">
                <a:solidFill>
                  <a:srgbClr val="002060"/>
                </a:solidFill>
              </a:rPr>
              <a:t>… continued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2/18/2017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9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3400" y="838200"/>
            <a:ext cx="297132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gistered Services in Eureka:</a:t>
            </a:r>
          </a:p>
          <a:p>
            <a:r>
              <a:rPr lang="en-US" dirty="0" smtClean="0"/>
              <a:t>Hystrix Dashboard :</a:t>
            </a:r>
          </a:p>
          <a:p>
            <a:r>
              <a:rPr lang="en-US" dirty="0" smtClean="0"/>
              <a:t>Consolidated Trace :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090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AVOFl64kq987u1J8wM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AVOFl64kq987u1J8wM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0</TotalTime>
  <Words>2222</Words>
  <Application>Microsoft Office PowerPoint</Application>
  <PresentationFormat>On-screen Show (4:3)</PresentationFormat>
  <Paragraphs>710</Paragraphs>
  <Slides>23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4" baseType="lpstr">
      <vt:lpstr>Office Theme</vt:lpstr>
      <vt:lpstr>PowerPoint Presentation</vt:lpstr>
      <vt:lpstr>Topics</vt:lpstr>
      <vt:lpstr>Software Architecture Evolution</vt:lpstr>
      <vt:lpstr>Monolith Application Limitations/Challenges</vt:lpstr>
      <vt:lpstr>Microservices adaption – Benefits / Challenges</vt:lpstr>
      <vt:lpstr>Microservices ecosystem</vt:lpstr>
      <vt:lpstr>Spring Cloud Netflix ecosystem</vt:lpstr>
      <vt:lpstr>Use Case – Customer’s Accounts Summary</vt:lpstr>
      <vt:lpstr>Use Case – Customer’s Accounts Summary… continued</vt:lpstr>
      <vt:lpstr>Questions and Next steps</vt:lpstr>
      <vt:lpstr>PowerPoint Presentation</vt:lpstr>
      <vt:lpstr>Microservices - Options</vt:lpstr>
      <vt:lpstr>Gateway – Spring Cloud Zuul</vt:lpstr>
      <vt:lpstr>Service Registry – Spring Cloud Eureka Server</vt:lpstr>
      <vt:lpstr>Service Registry – Spring Cloud Eureka Client</vt:lpstr>
      <vt:lpstr>Load Balancer – Spring Cloud Ribbon Client</vt:lpstr>
      <vt:lpstr>Configuration Management – Spring Cloud Config</vt:lpstr>
      <vt:lpstr>Circuit Breaker – Spring Cloud Hystrix</vt:lpstr>
      <vt:lpstr>Service health metric aggregator– Spring Cloud Turbine</vt:lpstr>
      <vt:lpstr>Service Dashboard – Spring Cloud Hystrix Dashboard</vt:lpstr>
      <vt:lpstr>Distributed Trace – Spring Cloud Sleuth</vt:lpstr>
      <vt:lpstr>Distributed Trace Dashabord – Spring Cloud Zapi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/400 application migration proposal</dc:title>
  <dc:creator>menda</dc:creator>
  <cp:lastModifiedBy>Menda, Rama</cp:lastModifiedBy>
  <cp:revision>118</cp:revision>
  <dcterms:created xsi:type="dcterms:W3CDTF">2006-08-16T00:00:00Z</dcterms:created>
  <dcterms:modified xsi:type="dcterms:W3CDTF">2017-12-19T01:41:54Z</dcterms:modified>
</cp:coreProperties>
</file>